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notesSlides/notesSlide8.xml" ContentType="application/vnd.openxmlformats-officedocument.presentationml.notesSlide+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9"/>
  </p:notesMasterIdLst>
  <p:sldIdLst>
    <p:sldId id="2146846968" r:id="rId5"/>
    <p:sldId id="2146846976" r:id="rId6"/>
    <p:sldId id="2146846952" r:id="rId7"/>
    <p:sldId id="2146846979" r:id="rId8"/>
    <p:sldId id="2146847014" r:id="rId9"/>
    <p:sldId id="2146847010" r:id="rId10"/>
    <p:sldId id="2146847015" r:id="rId11"/>
    <p:sldId id="2146846982" r:id="rId12"/>
    <p:sldId id="2146847007" r:id="rId13"/>
    <p:sldId id="2146847013" r:id="rId14"/>
    <p:sldId id="2146847012" r:id="rId15"/>
    <p:sldId id="2146847016" r:id="rId16"/>
    <p:sldId id="2146847011" r:id="rId17"/>
    <p:sldId id="2146847008" r:id="rId18"/>
  </p:sldIdLst>
  <p:sldSz cx="9144000" cy="5143500" type="screen16x9"/>
  <p:notesSz cx="7010400" cy="92964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noco, Jorge" initials="TJ" lastIdx="1" clrIdx="0">
    <p:extLst>
      <p:ext uri="{19B8F6BF-5375-455C-9EA6-DF929625EA0E}">
        <p15:presenceInfo xmlns:p15="http://schemas.microsoft.com/office/powerpoint/2012/main" userId="S::jorge.tinoco@centurylink.com::d627e25f-ba0e-46b5-bd6a-a7f20529962f" providerId="AD"/>
      </p:ext>
    </p:extLst>
  </p:cmAuthor>
  <p:cmAuthor id="2" name="Author" initials="A" lastIdx="2" clrIdx="1"/>
  <p:cmAuthor id="3" name="Trupp, Kaly" initials="TK" lastIdx="1" clrIdx="2">
    <p:extLst>
      <p:ext uri="{19B8F6BF-5375-455C-9EA6-DF929625EA0E}">
        <p15:presenceInfo xmlns:p15="http://schemas.microsoft.com/office/powerpoint/2012/main" userId="S::kaly.trupp@fticonsulting.com::d834d983-4509-4fa6-8398-41ae3cd229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C9"/>
    <a:srgbClr val="E6E6E6"/>
    <a:srgbClr val="479AD5"/>
    <a:srgbClr val="FF9E18"/>
    <a:srgbClr val="0C9ED9"/>
    <a:srgbClr val="E77528"/>
    <a:srgbClr val="E1251B"/>
    <a:srgbClr val="38C6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387B2D-A228-4480-8C55-D8E0B682D251}" v="110" dt="2021-10-20T13:53:30.996"/>
    <p1510:client id="{BE3B60D5-DA9A-444F-ADB0-4A04F8208545}" v="634" dt="2021-10-20T14:00:42.0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882" y="7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azo, Gisela Alejandra" userId="S::gisela.perazo@lumen.com::02437214-12ca-4bf8-9dda-79b2673f2297" providerId="AD" clId="Web-{37387B2D-A228-4480-8C55-D8E0B682D251}"/>
    <pc:docChg chg="modSld">
      <pc:chgData name="Perazo, Gisela Alejandra" userId="S::gisela.perazo@lumen.com::02437214-12ca-4bf8-9dda-79b2673f2297" providerId="AD" clId="Web-{37387B2D-A228-4480-8C55-D8E0B682D251}" dt="2021-10-20T13:53:30.996" v="77" actId="20577"/>
      <pc:docMkLst>
        <pc:docMk/>
      </pc:docMkLst>
      <pc:sldChg chg="modSp">
        <pc:chgData name="Perazo, Gisela Alejandra" userId="S::gisela.perazo@lumen.com::02437214-12ca-4bf8-9dda-79b2673f2297" providerId="AD" clId="Web-{37387B2D-A228-4480-8C55-D8E0B682D251}" dt="2021-10-20T13:53:28.183" v="65" actId="20577"/>
        <pc:sldMkLst>
          <pc:docMk/>
          <pc:sldMk cId="726273858" sldId="2146846982"/>
        </pc:sldMkLst>
        <pc:spChg chg="mod">
          <ac:chgData name="Perazo, Gisela Alejandra" userId="S::gisela.perazo@lumen.com::02437214-12ca-4bf8-9dda-79b2673f2297" providerId="AD" clId="Web-{37387B2D-A228-4480-8C55-D8E0B682D251}" dt="2021-10-20T13:53:13.667" v="52" actId="20577"/>
          <ac:spMkLst>
            <pc:docMk/>
            <pc:sldMk cId="726273858" sldId="2146846982"/>
            <ac:spMk id="37" creationId="{6A2CD731-851B-4170-828B-5DDD01CFD185}"/>
          </ac:spMkLst>
        </pc:spChg>
        <pc:spChg chg="mod">
          <ac:chgData name="Perazo, Gisela Alejandra" userId="S::gisela.perazo@lumen.com::02437214-12ca-4bf8-9dda-79b2673f2297" providerId="AD" clId="Web-{37387B2D-A228-4480-8C55-D8E0B682D251}" dt="2021-10-20T13:53:28.183" v="65" actId="20577"/>
          <ac:spMkLst>
            <pc:docMk/>
            <pc:sldMk cId="726273858" sldId="2146846982"/>
            <ac:spMk id="45" creationId="{2CDBF9DC-3716-4CB1-9583-86E89C48226D}"/>
          </ac:spMkLst>
        </pc:spChg>
        <pc:spChg chg="mod">
          <ac:chgData name="Perazo, Gisela Alejandra" userId="S::gisela.perazo@lumen.com::02437214-12ca-4bf8-9dda-79b2673f2297" providerId="AD" clId="Web-{37387B2D-A228-4480-8C55-D8E0B682D251}" dt="2021-10-20T13:53:26.199" v="64" actId="20577"/>
          <ac:spMkLst>
            <pc:docMk/>
            <pc:sldMk cId="726273858" sldId="2146846982"/>
            <ac:spMk id="46" creationId="{38012B40-B0BF-4FB1-B315-1AF1E84F5A4A}"/>
          </ac:spMkLst>
        </pc:spChg>
      </pc:sldChg>
      <pc:sldChg chg="modSp">
        <pc:chgData name="Perazo, Gisela Alejandra" userId="S::gisela.perazo@lumen.com::02437214-12ca-4bf8-9dda-79b2673f2297" providerId="AD" clId="Web-{37387B2D-A228-4480-8C55-D8E0B682D251}" dt="2021-10-20T13:53:30.996" v="77" actId="20577"/>
        <pc:sldMkLst>
          <pc:docMk/>
          <pc:sldMk cId="808897663" sldId="2146847010"/>
        </pc:sldMkLst>
        <pc:spChg chg="mod">
          <ac:chgData name="Perazo, Gisela Alejandra" userId="S::gisela.perazo@lumen.com::02437214-12ca-4bf8-9dda-79b2673f2297" providerId="AD" clId="Web-{37387B2D-A228-4480-8C55-D8E0B682D251}" dt="2021-10-20T13:53:30.996" v="77" actId="20577"/>
          <ac:spMkLst>
            <pc:docMk/>
            <pc:sldMk cId="808897663" sldId="2146847010"/>
            <ac:spMk id="36" creationId="{7EB8E24B-452C-487B-B03F-2D570E305C2D}"/>
          </ac:spMkLst>
        </pc:spChg>
      </pc:sldChg>
    </pc:docChg>
  </pc:docChgLst>
  <pc:docChgLst>
    <pc:chgData name="Toledo, Elena" userId="eded0357-d104-46c3-9338-e6270a8bf591" providerId="ADAL" clId="{BE3B60D5-DA9A-444F-ADB0-4A04F8208545}"/>
    <pc:docChg chg="undo redo custSel addSld delSld modSld sldOrd">
      <pc:chgData name="Toledo, Elena" userId="eded0357-d104-46c3-9338-e6270a8bf591" providerId="ADAL" clId="{BE3B60D5-DA9A-444F-ADB0-4A04F8208545}" dt="2021-10-20T14:21:23.911" v="7925" actId="20577"/>
      <pc:docMkLst>
        <pc:docMk/>
      </pc:docMkLst>
      <pc:sldChg chg="mod modShow">
        <pc:chgData name="Toledo, Elena" userId="eded0357-d104-46c3-9338-e6270a8bf591" providerId="ADAL" clId="{BE3B60D5-DA9A-444F-ADB0-4A04F8208545}" dt="2021-10-18T15:33:29.274" v="4214" actId="729"/>
        <pc:sldMkLst>
          <pc:docMk/>
          <pc:sldMk cId="2492764547" sldId="2146846952"/>
        </pc:sldMkLst>
      </pc:sldChg>
      <pc:sldChg chg="mod modShow">
        <pc:chgData name="Toledo, Elena" userId="eded0357-d104-46c3-9338-e6270a8bf591" providerId="ADAL" clId="{BE3B60D5-DA9A-444F-ADB0-4A04F8208545}" dt="2021-10-18T15:33:29.274" v="4214" actId="729"/>
        <pc:sldMkLst>
          <pc:docMk/>
          <pc:sldMk cId="2534716975" sldId="2146846976"/>
        </pc:sldMkLst>
      </pc:sldChg>
      <pc:sldChg chg="addSp delSp modSp del mod ord">
        <pc:chgData name="Toledo, Elena" userId="eded0357-d104-46c3-9338-e6270a8bf591" providerId="ADAL" clId="{BE3B60D5-DA9A-444F-ADB0-4A04F8208545}" dt="2021-10-13T20:47:15.968" v="2018" actId="47"/>
        <pc:sldMkLst>
          <pc:docMk/>
          <pc:sldMk cId="3325143143" sldId="2146846977"/>
        </pc:sldMkLst>
        <pc:spChg chg="mod">
          <ac:chgData name="Toledo, Elena" userId="eded0357-d104-46c3-9338-e6270a8bf591" providerId="ADAL" clId="{BE3B60D5-DA9A-444F-ADB0-4A04F8208545}" dt="2021-10-13T19:38:28.083" v="490" actId="20577"/>
          <ac:spMkLst>
            <pc:docMk/>
            <pc:sldMk cId="3325143143" sldId="2146846977"/>
            <ac:spMk id="6" creationId="{9FA12F9C-D656-4078-89AD-E763E85B2B5F}"/>
          </ac:spMkLst>
        </pc:spChg>
        <pc:spChg chg="mod">
          <ac:chgData name="Toledo, Elena" userId="eded0357-d104-46c3-9338-e6270a8bf591" providerId="ADAL" clId="{BE3B60D5-DA9A-444F-ADB0-4A04F8208545}" dt="2021-10-13T20:29:41.835" v="1867" actId="20577"/>
          <ac:spMkLst>
            <pc:docMk/>
            <pc:sldMk cId="3325143143" sldId="2146846977"/>
            <ac:spMk id="15" creationId="{42AD3635-6B1E-4D90-B610-6361BEFB04EA}"/>
          </ac:spMkLst>
        </pc:spChg>
        <pc:spChg chg="mod">
          <ac:chgData name="Toledo, Elena" userId="eded0357-d104-46c3-9338-e6270a8bf591" providerId="ADAL" clId="{BE3B60D5-DA9A-444F-ADB0-4A04F8208545}" dt="2021-10-13T19:46:50.180" v="764" actId="1036"/>
          <ac:spMkLst>
            <pc:docMk/>
            <pc:sldMk cId="3325143143" sldId="2146846977"/>
            <ac:spMk id="17" creationId="{6A8298CC-5E2E-4BAA-82D5-43D06129DD3C}"/>
          </ac:spMkLst>
        </pc:spChg>
        <pc:spChg chg="mod">
          <ac:chgData name="Toledo, Elena" userId="eded0357-d104-46c3-9338-e6270a8bf591" providerId="ADAL" clId="{BE3B60D5-DA9A-444F-ADB0-4A04F8208545}" dt="2021-10-13T20:29:13.568" v="1832"/>
          <ac:spMkLst>
            <pc:docMk/>
            <pc:sldMk cId="3325143143" sldId="2146846977"/>
            <ac:spMk id="22" creationId="{26504CF4-20F7-4B5D-ABF7-AF170C5E95F0}"/>
          </ac:spMkLst>
        </pc:spChg>
        <pc:spChg chg="mod">
          <ac:chgData name="Toledo, Elena" userId="eded0357-d104-46c3-9338-e6270a8bf591" providerId="ADAL" clId="{BE3B60D5-DA9A-444F-ADB0-4A04F8208545}" dt="2021-10-13T19:30:25.755" v="92" actId="20577"/>
          <ac:spMkLst>
            <pc:docMk/>
            <pc:sldMk cId="3325143143" sldId="2146846977"/>
            <ac:spMk id="36" creationId="{7EB8E24B-452C-487B-B03F-2D570E305C2D}"/>
          </ac:spMkLst>
        </pc:spChg>
        <pc:spChg chg="add mod">
          <ac:chgData name="Toledo, Elena" userId="eded0357-d104-46c3-9338-e6270a8bf591" providerId="ADAL" clId="{BE3B60D5-DA9A-444F-ADB0-4A04F8208545}" dt="2021-10-13T20:13:35.054" v="1287" actId="1035"/>
          <ac:spMkLst>
            <pc:docMk/>
            <pc:sldMk cId="3325143143" sldId="2146846977"/>
            <ac:spMk id="37" creationId="{6A2CD731-851B-4170-828B-5DDD01CFD185}"/>
          </ac:spMkLst>
        </pc:spChg>
        <pc:spChg chg="add mod">
          <ac:chgData name="Toledo, Elena" userId="eded0357-d104-46c3-9338-e6270a8bf591" providerId="ADAL" clId="{BE3B60D5-DA9A-444F-ADB0-4A04F8208545}" dt="2021-10-13T20:20:25.327" v="1560" actId="1076"/>
          <ac:spMkLst>
            <pc:docMk/>
            <pc:sldMk cId="3325143143" sldId="2146846977"/>
            <ac:spMk id="39" creationId="{FC8B88BA-6625-4DD9-BD92-00790E085F10}"/>
          </ac:spMkLst>
        </pc:spChg>
        <pc:spChg chg="mod">
          <ac:chgData name="Toledo, Elena" userId="eded0357-d104-46c3-9338-e6270a8bf591" providerId="ADAL" clId="{BE3B60D5-DA9A-444F-ADB0-4A04F8208545}" dt="2021-10-13T20:30:12.867" v="1869" actId="20577"/>
          <ac:spMkLst>
            <pc:docMk/>
            <pc:sldMk cId="3325143143" sldId="2146846977"/>
            <ac:spMk id="41" creationId="{59EA9267-942B-4D68-9FA9-49087C4A5F12}"/>
          </ac:spMkLst>
        </pc:spChg>
        <pc:spChg chg="mod">
          <ac:chgData name="Toledo, Elena" userId="eded0357-d104-46c3-9338-e6270a8bf591" providerId="ADAL" clId="{BE3B60D5-DA9A-444F-ADB0-4A04F8208545}" dt="2021-10-13T20:29:31.288" v="1853" actId="20577"/>
          <ac:spMkLst>
            <pc:docMk/>
            <pc:sldMk cId="3325143143" sldId="2146846977"/>
            <ac:spMk id="42" creationId="{A327B052-FFDA-4917-A229-F34C2748DFC6}"/>
          </ac:spMkLst>
        </pc:spChg>
        <pc:spChg chg="add del mod">
          <ac:chgData name="Toledo, Elena" userId="eded0357-d104-46c3-9338-e6270a8bf591" providerId="ADAL" clId="{BE3B60D5-DA9A-444F-ADB0-4A04F8208545}" dt="2021-10-13T20:27:16.363" v="1706" actId="22"/>
          <ac:spMkLst>
            <pc:docMk/>
            <pc:sldMk cId="3325143143" sldId="2146846977"/>
            <ac:spMk id="43" creationId="{CD0CA068-1FDD-4BDF-BFAC-667E61745826}"/>
          </ac:spMkLst>
        </pc:spChg>
        <pc:spChg chg="mod">
          <ac:chgData name="Toledo, Elena" userId="eded0357-d104-46c3-9338-e6270a8bf591" providerId="ADAL" clId="{BE3B60D5-DA9A-444F-ADB0-4A04F8208545}" dt="2021-10-13T20:13:19.388" v="1264" actId="20577"/>
          <ac:spMkLst>
            <pc:docMk/>
            <pc:sldMk cId="3325143143" sldId="2146846977"/>
            <ac:spMk id="44" creationId="{BAAB01BB-1A36-4887-9BA4-EA88AFA174C6}"/>
          </ac:spMkLst>
        </pc:spChg>
        <pc:spChg chg="mod">
          <ac:chgData name="Toledo, Elena" userId="eded0357-d104-46c3-9338-e6270a8bf591" providerId="ADAL" clId="{BE3B60D5-DA9A-444F-ADB0-4A04F8208545}" dt="2021-10-13T20:13:24.271" v="1271" actId="20577"/>
          <ac:spMkLst>
            <pc:docMk/>
            <pc:sldMk cId="3325143143" sldId="2146846977"/>
            <ac:spMk id="45" creationId="{2CDBF9DC-3716-4CB1-9583-86E89C48226D}"/>
          </ac:spMkLst>
        </pc:spChg>
        <pc:spChg chg="mod">
          <ac:chgData name="Toledo, Elena" userId="eded0357-d104-46c3-9338-e6270a8bf591" providerId="ADAL" clId="{BE3B60D5-DA9A-444F-ADB0-4A04F8208545}" dt="2021-10-13T20:13:27.422" v="1278" actId="20577"/>
          <ac:spMkLst>
            <pc:docMk/>
            <pc:sldMk cId="3325143143" sldId="2146846977"/>
            <ac:spMk id="46" creationId="{38012B40-B0BF-4FB1-B315-1AF1E84F5A4A}"/>
          </ac:spMkLst>
        </pc:spChg>
        <pc:spChg chg="del">
          <ac:chgData name="Toledo, Elena" userId="eded0357-d104-46c3-9338-e6270a8bf591" providerId="ADAL" clId="{BE3B60D5-DA9A-444F-ADB0-4A04F8208545}" dt="2021-10-13T19:35:08.324" v="237" actId="478"/>
          <ac:spMkLst>
            <pc:docMk/>
            <pc:sldMk cId="3325143143" sldId="2146846977"/>
            <ac:spMk id="49" creationId="{54D593F6-822C-435B-9BC7-A41AF1D67231}"/>
          </ac:spMkLst>
        </pc:spChg>
        <pc:spChg chg="mod">
          <ac:chgData name="Toledo, Elena" userId="eded0357-d104-46c3-9338-e6270a8bf591" providerId="ADAL" clId="{BE3B60D5-DA9A-444F-ADB0-4A04F8208545}" dt="2021-10-13T20:22:21.002" v="1605" actId="20577"/>
          <ac:spMkLst>
            <pc:docMk/>
            <pc:sldMk cId="3325143143" sldId="2146846977"/>
            <ac:spMk id="51" creationId="{C8F965E4-C46B-40E5-934E-AACE00FCDF28}"/>
          </ac:spMkLst>
        </pc:spChg>
        <pc:spChg chg="mod">
          <ac:chgData name="Toledo, Elena" userId="eded0357-d104-46c3-9338-e6270a8bf591" providerId="ADAL" clId="{BE3B60D5-DA9A-444F-ADB0-4A04F8208545}" dt="2021-10-13T20:09:48.360" v="1036" actId="1037"/>
          <ac:spMkLst>
            <pc:docMk/>
            <pc:sldMk cId="3325143143" sldId="2146846977"/>
            <ac:spMk id="52" creationId="{DD340258-1989-4BE5-AAD4-0FE30AFB94EF}"/>
          </ac:spMkLst>
        </pc:spChg>
        <pc:spChg chg="mod">
          <ac:chgData name="Toledo, Elena" userId="eded0357-d104-46c3-9338-e6270a8bf591" providerId="ADAL" clId="{BE3B60D5-DA9A-444F-ADB0-4A04F8208545}" dt="2021-10-13T20:09:48.360" v="1036" actId="1037"/>
          <ac:spMkLst>
            <pc:docMk/>
            <pc:sldMk cId="3325143143" sldId="2146846977"/>
            <ac:spMk id="53" creationId="{E6736071-639E-4B32-B36D-A16BE28B205A}"/>
          </ac:spMkLst>
        </pc:spChg>
        <pc:spChg chg="mod">
          <ac:chgData name="Toledo, Elena" userId="eded0357-d104-46c3-9338-e6270a8bf591" providerId="ADAL" clId="{BE3B60D5-DA9A-444F-ADB0-4A04F8208545}" dt="2021-10-13T20:09:48.360" v="1036" actId="1037"/>
          <ac:spMkLst>
            <pc:docMk/>
            <pc:sldMk cId="3325143143" sldId="2146846977"/>
            <ac:spMk id="55" creationId="{FBF08FD3-136E-4631-95FC-EC60E3ECBEF8}"/>
          </ac:spMkLst>
        </pc:spChg>
        <pc:spChg chg="mod">
          <ac:chgData name="Toledo, Elena" userId="eded0357-d104-46c3-9338-e6270a8bf591" providerId="ADAL" clId="{BE3B60D5-DA9A-444F-ADB0-4A04F8208545}" dt="2021-10-13T20:09:48.360" v="1036" actId="1037"/>
          <ac:spMkLst>
            <pc:docMk/>
            <pc:sldMk cId="3325143143" sldId="2146846977"/>
            <ac:spMk id="56" creationId="{2ED67BD3-75FF-4DD3-BB95-8F23488ED936}"/>
          </ac:spMkLst>
        </pc:spChg>
        <pc:grpChg chg="del">
          <ac:chgData name="Toledo, Elena" userId="eded0357-d104-46c3-9338-e6270a8bf591" providerId="ADAL" clId="{BE3B60D5-DA9A-444F-ADB0-4A04F8208545}" dt="2021-10-13T19:34:08.065" v="226" actId="478"/>
          <ac:grpSpMkLst>
            <pc:docMk/>
            <pc:sldMk cId="3325143143" sldId="2146846977"/>
            <ac:grpSpMk id="57" creationId="{F12A2AD1-A849-4FEE-8698-1ED9EB813D51}"/>
          </ac:grpSpMkLst>
        </pc:grpChg>
        <pc:cxnChg chg="add mod">
          <ac:chgData name="Toledo, Elena" userId="eded0357-d104-46c3-9338-e6270a8bf591" providerId="ADAL" clId="{BE3B60D5-DA9A-444F-ADB0-4A04F8208545}" dt="2021-10-13T20:13:41.194" v="1288" actId="14100"/>
          <ac:cxnSpMkLst>
            <pc:docMk/>
            <pc:sldMk cId="3325143143" sldId="2146846977"/>
            <ac:cxnSpMk id="38" creationId="{82653661-FA00-455E-AC19-DCF889BD08A5}"/>
          </ac:cxnSpMkLst>
        </pc:cxnChg>
        <pc:cxnChg chg="mod">
          <ac:chgData name="Toledo, Elena" userId="eded0357-d104-46c3-9338-e6270a8bf591" providerId="ADAL" clId="{BE3B60D5-DA9A-444F-ADB0-4A04F8208545}" dt="2021-10-13T20:13:22.893" v="1265" actId="20577"/>
          <ac:cxnSpMkLst>
            <pc:docMk/>
            <pc:sldMk cId="3325143143" sldId="2146846977"/>
            <ac:cxnSpMk id="47" creationId="{F50520C6-57BD-40D7-AA50-58556C5420E4}"/>
          </ac:cxnSpMkLst>
        </pc:cxnChg>
        <pc:cxnChg chg="mod">
          <ac:chgData name="Toledo, Elena" userId="eded0357-d104-46c3-9338-e6270a8bf591" providerId="ADAL" clId="{BE3B60D5-DA9A-444F-ADB0-4A04F8208545}" dt="2021-10-13T20:13:26.723" v="1272" actId="20577"/>
          <ac:cxnSpMkLst>
            <pc:docMk/>
            <pc:sldMk cId="3325143143" sldId="2146846977"/>
            <ac:cxnSpMk id="50" creationId="{97F1DBDD-2142-4F0F-B514-8ECC73A6614B}"/>
          </ac:cxnSpMkLst>
        </pc:cxnChg>
        <pc:cxnChg chg="mod">
          <ac:chgData name="Toledo, Elena" userId="eded0357-d104-46c3-9338-e6270a8bf591" providerId="ADAL" clId="{BE3B60D5-DA9A-444F-ADB0-4A04F8208545}" dt="2021-10-13T19:34:08.065" v="226" actId="478"/>
          <ac:cxnSpMkLst>
            <pc:docMk/>
            <pc:sldMk cId="3325143143" sldId="2146846977"/>
            <ac:cxnSpMk id="58" creationId="{EB0981E8-4AC2-441C-A500-0FE4A95E9AFE}"/>
          </ac:cxnSpMkLst>
        </pc:cxnChg>
      </pc:sldChg>
      <pc:sldChg chg="mod modShow">
        <pc:chgData name="Toledo, Elena" userId="eded0357-d104-46c3-9338-e6270a8bf591" providerId="ADAL" clId="{BE3B60D5-DA9A-444F-ADB0-4A04F8208545}" dt="2021-10-18T15:33:29.274" v="4214" actId="729"/>
        <pc:sldMkLst>
          <pc:docMk/>
          <pc:sldMk cId="3150871340" sldId="2146846979"/>
        </pc:sldMkLst>
      </pc:sldChg>
      <pc:sldChg chg="del">
        <pc:chgData name="Toledo, Elena" userId="eded0357-d104-46c3-9338-e6270a8bf591" providerId="ADAL" clId="{BE3B60D5-DA9A-444F-ADB0-4A04F8208545}" dt="2021-10-13T20:21:56.647" v="1584" actId="47"/>
        <pc:sldMkLst>
          <pc:docMk/>
          <pc:sldMk cId="1173310404" sldId="2146846980"/>
        </pc:sldMkLst>
      </pc:sldChg>
      <pc:sldChg chg="del">
        <pc:chgData name="Toledo, Elena" userId="eded0357-d104-46c3-9338-e6270a8bf591" providerId="ADAL" clId="{BE3B60D5-DA9A-444F-ADB0-4A04F8208545}" dt="2021-10-13T20:21:55.780" v="1583" actId="47"/>
        <pc:sldMkLst>
          <pc:docMk/>
          <pc:sldMk cId="385758139" sldId="2146846981"/>
        </pc:sldMkLst>
      </pc:sldChg>
      <pc:sldChg chg="addSp delSp modSp add mod ord">
        <pc:chgData name="Toledo, Elena" userId="eded0357-d104-46c3-9338-e6270a8bf591" providerId="ADAL" clId="{BE3B60D5-DA9A-444F-ADB0-4A04F8208545}" dt="2021-10-20T12:18:50.081" v="5878" actId="1076"/>
        <pc:sldMkLst>
          <pc:docMk/>
          <pc:sldMk cId="726273858" sldId="2146846982"/>
        </pc:sldMkLst>
        <pc:spChg chg="mod">
          <ac:chgData name="Toledo, Elena" userId="eded0357-d104-46c3-9338-e6270a8bf591" providerId="ADAL" clId="{BE3B60D5-DA9A-444F-ADB0-4A04F8208545}" dt="2021-10-20T12:00:12.977" v="5843" actId="20577"/>
          <ac:spMkLst>
            <pc:docMk/>
            <pc:sldMk cId="726273858" sldId="2146846982"/>
            <ac:spMk id="17" creationId="{6A8298CC-5E2E-4BAA-82D5-43D06129DD3C}"/>
          </ac:spMkLst>
        </pc:spChg>
        <pc:spChg chg="mod">
          <ac:chgData name="Toledo, Elena" userId="eded0357-d104-46c3-9338-e6270a8bf591" providerId="ADAL" clId="{BE3B60D5-DA9A-444F-ADB0-4A04F8208545}" dt="2021-10-20T11:59:10.959" v="5784" actId="20577"/>
          <ac:spMkLst>
            <pc:docMk/>
            <pc:sldMk cId="726273858" sldId="2146846982"/>
            <ac:spMk id="22" creationId="{26504CF4-20F7-4B5D-ABF7-AF170C5E95F0}"/>
          </ac:spMkLst>
        </pc:spChg>
        <pc:spChg chg="add mod">
          <ac:chgData name="Toledo, Elena" userId="eded0357-d104-46c3-9338-e6270a8bf591" providerId="ADAL" clId="{BE3B60D5-DA9A-444F-ADB0-4A04F8208545}" dt="2021-10-18T17:24:51.991" v="4594" actId="1076"/>
          <ac:spMkLst>
            <pc:docMk/>
            <pc:sldMk cId="726273858" sldId="2146846982"/>
            <ac:spMk id="31" creationId="{37CF51E5-D707-4504-982E-E6496C8B8C7A}"/>
          </ac:spMkLst>
        </pc:spChg>
        <pc:spChg chg="mod">
          <ac:chgData name="Toledo, Elena" userId="eded0357-d104-46c3-9338-e6270a8bf591" providerId="ADAL" clId="{BE3B60D5-DA9A-444F-ADB0-4A04F8208545}" dt="2021-10-20T12:18:50.081" v="5878" actId="1076"/>
          <ac:spMkLst>
            <pc:docMk/>
            <pc:sldMk cId="726273858" sldId="2146846982"/>
            <ac:spMk id="36" creationId="{7EB8E24B-452C-487B-B03F-2D570E305C2D}"/>
          </ac:spMkLst>
        </pc:spChg>
        <pc:spChg chg="del mod">
          <ac:chgData name="Toledo, Elena" userId="eded0357-d104-46c3-9338-e6270a8bf591" providerId="ADAL" clId="{BE3B60D5-DA9A-444F-ADB0-4A04F8208545}" dt="2021-10-18T15:13:40.365" v="3309" actId="478"/>
          <ac:spMkLst>
            <pc:docMk/>
            <pc:sldMk cId="726273858" sldId="2146846982"/>
            <ac:spMk id="39" creationId="{FC8B88BA-6625-4DD9-BD92-00790E085F10}"/>
          </ac:spMkLst>
        </pc:spChg>
        <pc:spChg chg="mod">
          <ac:chgData name="Toledo, Elena" userId="eded0357-d104-46c3-9338-e6270a8bf591" providerId="ADAL" clId="{BE3B60D5-DA9A-444F-ADB0-4A04F8208545}" dt="2021-10-20T11:59:58.196" v="5829" actId="948"/>
          <ac:spMkLst>
            <pc:docMk/>
            <pc:sldMk cId="726273858" sldId="2146846982"/>
            <ac:spMk id="41" creationId="{59EA9267-942B-4D68-9FA9-49087C4A5F12}"/>
          </ac:spMkLst>
        </pc:spChg>
        <pc:spChg chg="mod">
          <ac:chgData name="Toledo, Elena" userId="eded0357-d104-46c3-9338-e6270a8bf591" providerId="ADAL" clId="{BE3B60D5-DA9A-444F-ADB0-4A04F8208545}" dt="2021-10-19T18:42:33.049" v="5774" actId="13926"/>
          <ac:spMkLst>
            <pc:docMk/>
            <pc:sldMk cId="726273858" sldId="2146846982"/>
            <ac:spMk id="51" creationId="{C8F965E4-C46B-40E5-934E-AACE00FCDF28}"/>
          </ac:spMkLst>
        </pc:spChg>
      </pc:sldChg>
      <pc:sldChg chg="modSp add del mod">
        <pc:chgData name="Toledo, Elena" userId="eded0357-d104-46c3-9338-e6270a8bf591" providerId="ADAL" clId="{BE3B60D5-DA9A-444F-ADB0-4A04F8208545}" dt="2021-10-13T19:47:04.650" v="768" actId="47"/>
        <pc:sldMkLst>
          <pc:docMk/>
          <pc:sldMk cId="2611850001" sldId="2146847006"/>
        </pc:sldMkLst>
        <pc:spChg chg="mod">
          <ac:chgData name="Toledo, Elena" userId="eded0357-d104-46c3-9338-e6270a8bf591" providerId="ADAL" clId="{BE3B60D5-DA9A-444F-ADB0-4A04F8208545}" dt="2021-10-13T18:16:39.926" v="4" actId="207"/>
          <ac:spMkLst>
            <pc:docMk/>
            <pc:sldMk cId="2611850001" sldId="2146847006"/>
            <ac:spMk id="2" creationId="{E83887E9-1BC1-4C0D-A8A1-44AB0DC1078E}"/>
          </ac:spMkLst>
        </pc:spChg>
        <pc:spChg chg="mod">
          <ac:chgData name="Toledo, Elena" userId="eded0357-d104-46c3-9338-e6270a8bf591" providerId="ADAL" clId="{BE3B60D5-DA9A-444F-ADB0-4A04F8208545}" dt="2021-10-13T18:16:42.282" v="5" actId="207"/>
          <ac:spMkLst>
            <pc:docMk/>
            <pc:sldMk cId="2611850001" sldId="2146847006"/>
            <ac:spMk id="22" creationId="{DCD8D93B-DF6A-4402-B63C-146E3BC7DAD3}"/>
          </ac:spMkLst>
        </pc:spChg>
        <pc:spChg chg="mod">
          <ac:chgData name="Toledo, Elena" userId="eded0357-d104-46c3-9338-e6270a8bf591" providerId="ADAL" clId="{BE3B60D5-DA9A-444F-ADB0-4A04F8208545}" dt="2021-10-13T18:16:44.738" v="6" actId="207"/>
          <ac:spMkLst>
            <pc:docMk/>
            <pc:sldMk cId="2611850001" sldId="2146847006"/>
            <ac:spMk id="24" creationId="{FA35DC1C-71BE-41A6-9AC0-E78DFCB64A75}"/>
          </ac:spMkLst>
        </pc:spChg>
        <pc:spChg chg="mod">
          <ac:chgData name="Toledo, Elena" userId="eded0357-d104-46c3-9338-e6270a8bf591" providerId="ADAL" clId="{BE3B60D5-DA9A-444F-ADB0-4A04F8208545}" dt="2021-10-13T18:16:46.634" v="7" actId="207"/>
          <ac:spMkLst>
            <pc:docMk/>
            <pc:sldMk cId="2611850001" sldId="2146847006"/>
            <ac:spMk id="25" creationId="{5DB565AF-0639-4776-AF81-CF7AD1F88CCA}"/>
          </ac:spMkLst>
        </pc:spChg>
        <pc:cxnChg chg="mod">
          <ac:chgData name="Toledo, Elena" userId="eded0357-d104-46c3-9338-e6270a8bf591" providerId="ADAL" clId="{BE3B60D5-DA9A-444F-ADB0-4A04F8208545}" dt="2021-10-13T18:16:56.523" v="8" actId="208"/>
          <ac:cxnSpMkLst>
            <pc:docMk/>
            <pc:sldMk cId="2611850001" sldId="2146847006"/>
            <ac:cxnSpMk id="4" creationId="{447F0BBE-08A0-479C-B38B-BE890AF16139}"/>
          </ac:cxnSpMkLst>
        </pc:cxnChg>
        <pc:cxnChg chg="mod">
          <ac:chgData name="Toledo, Elena" userId="eded0357-d104-46c3-9338-e6270a8bf591" providerId="ADAL" clId="{BE3B60D5-DA9A-444F-ADB0-4A04F8208545}" dt="2021-10-13T18:16:56.523" v="8" actId="208"/>
          <ac:cxnSpMkLst>
            <pc:docMk/>
            <pc:sldMk cId="2611850001" sldId="2146847006"/>
            <ac:cxnSpMk id="6" creationId="{225287CE-AA3C-4FC8-8E5D-96A357D065CF}"/>
          </ac:cxnSpMkLst>
        </pc:cxnChg>
        <pc:cxnChg chg="mod">
          <ac:chgData name="Toledo, Elena" userId="eded0357-d104-46c3-9338-e6270a8bf591" providerId="ADAL" clId="{BE3B60D5-DA9A-444F-ADB0-4A04F8208545}" dt="2021-10-13T18:16:56.523" v="8" actId="208"/>
          <ac:cxnSpMkLst>
            <pc:docMk/>
            <pc:sldMk cId="2611850001" sldId="2146847006"/>
            <ac:cxnSpMk id="30" creationId="{4B0055BC-56AB-4201-B795-817F7A90F944}"/>
          </ac:cxnSpMkLst>
        </pc:cxnChg>
      </pc:sldChg>
      <pc:sldChg chg="addSp delSp modSp add mod ord">
        <pc:chgData name="Toledo, Elena" userId="eded0357-d104-46c3-9338-e6270a8bf591" providerId="ADAL" clId="{BE3B60D5-DA9A-444F-ADB0-4A04F8208545}" dt="2021-10-20T13:50:02.665" v="7459" actId="14100"/>
        <pc:sldMkLst>
          <pc:docMk/>
          <pc:sldMk cId="1560648663" sldId="2146847007"/>
        </pc:sldMkLst>
        <pc:spChg chg="mod">
          <ac:chgData name="Toledo, Elena" userId="eded0357-d104-46c3-9338-e6270a8bf591" providerId="ADAL" clId="{BE3B60D5-DA9A-444F-ADB0-4A04F8208545}" dt="2021-10-13T20:27:55.313" v="1742" actId="1035"/>
          <ac:spMkLst>
            <pc:docMk/>
            <pc:sldMk cId="1560648663" sldId="2146847007"/>
            <ac:spMk id="4" creationId="{24141C6D-5E4F-46C6-9CFF-32EED42237D6}"/>
          </ac:spMkLst>
        </pc:spChg>
        <pc:spChg chg="mod">
          <ac:chgData name="Toledo, Elena" userId="eded0357-d104-46c3-9338-e6270a8bf591" providerId="ADAL" clId="{BE3B60D5-DA9A-444F-ADB0-4A04F8208545}" dt="2021-10-13T20:27:55.313" v="1742" actId="1035"/>
          <ac:spMkLst>
            <pc:docMk/>
            <pc:sldMk cId="1560648663" sldId="2146847007"/>
            <ac:spMk id="5" creationId="{4C010045-2BE2-4299-85BC-0F7AC8D08FFD}"/>
          </ac:spMkLst>
        </pc:spChg>
        <pc:spChg chg="mod">
          <ac:chgData name="Toledo, Elena" userId="eded0357-d104-46c3-9338-e6270a8bf591" providerId="ADAL" clId="{BE3B60D5-DA9A-444F-ADB0-4A04F8208545}" dt="2021-10-13T20:27:55.313" v="1742" actId="1035"/>
          <ac:spMkLst>
            <pc:docMk/>
            <pc:sldMk cId="1560648663" sldId="2146847007"/>
            <ac:spMk id="8" creationId="{E68820BD-BE71-4D01-B450-5E98A0B04383}"/>
          </ac:spMkLst>
        </pc:spChg>
        <pc:spChg chg="mod">
          <ac:chgData name="Toledo, Elena" userId="eded0357-d104-46c3-9338-e6270a8bf591" providerId="ADAL" clId="{BE3B60D5-DA9A-444F-ADB0-4A04F8208545}" dt="2021-10-13T20:27:21.049" v="1713" actId="207"/>
          <ac:spMkLst>
            <pc:docMk/>
            <pc:sldMk cId="1560648663" sldId="2146847007"/>
            <ac:spMk id="12" creationId="{AB7C3D6F-ADC4-43AE-A45F-7364548DC147}"/>
          </ac:spMkLst>
        </pc:spChg>
        <pc:spChg chg="mod">
          <ac:chgData name="Toledo, Elena" userId="eded0357-d104-46c3-9338-e6270a8bf591" providerId="ADAL" clId="{BE3B60D5-DA9A-444F-ADB0-4A04F8208545}" dt="2021-10-13T20:27:21.049" v="1713" actId="207"/>
          <ac:spMkLst>
            <pc:docMk/>
            <pc:sldMk cId="1560648663" sldId="2146847007"/>
            <ac:spMk id="13" creationId="{28FA5A63-8300-46DF-927D-2A5E432F2027}"/>
          </ac:spMkLst>
        </pc:spChg>
        <pc:spChg chg="mod">
          <ac:chgData name="Toledo, Elena" userId="eded0357-d104-46c3-9338-e6270a8bf591" providerId="ADAL" clId="{BE3B60D5-DA9A-444F-ADB0-4A04F8208545}" dt="2021-10-13T20:27:21.049" v="1713" actId="207"/>
          <ac:spMkLst>
            <pc:docMk/>
            <pc:sldMk cId="1560648663" sldId="2146847007"/>
            <ac:spMk id="15" creationId="{DD603928-DDB8-4EEA-AD16-509847D6518E}"/>
          </ac:spMkLst>
        </pc:spChg>
        <pc:spChg chg="mod">
          <ac:chgData name="Toledo, Elena" userId="eded0357-d104-46c3-9338-e6270a8bf591" providerId="ADAL" clId="{BE3B60D5-DA9A-444F-ADB0-4A04F8208545}" dt="2021-10-13T20:27:21.049" v="1713" actId="207"/>
          <ac:spMkLst>
            <pc:docMk/>
            <pc:sldMk cId="1560648663" sldId="2146847007"/>
            <ac:spMk id="16" creationId="{81037181-B510-469D-B3CB-5C50B670A61D}"/>
          </ac:spMkLst>
        </pc:spChg>
        <pc:spChg chg="mod">
          <ac:chgData name="Toledo, Elena" userId="eded0357-d104-46c3-9338-e6270a8bf591" providerId="ADAL" clId="{BE3B60D5-DA9A-444F-ADB0-4A04F8208545}" dt="2021-10-13T20:27:21.049" v="1713" actId="207"/>
          <ac:spMkLst>
            <pc:docMk/>
            <pc:sldMk cId="1560648663" sldId="2146847007"/>
            <ac:spMk id="18" creationId="{4CAD7AE4-534B-4D16-B9EB-259300351FA5}"/>
          </ac:spMkLst>
        </pc:spChg>
        <pc:spChg chg="mod">
          <ac:chgData name="Toledo, Elena" userId="eded0357-d104-46c3-9338-e6270a8bf591" providerId="ADAL" clId="{BE3B60D5-DA9A-444F-ADB0-4A04F8208545}" dt="2021-10-13T20:27:21.049" v="1713" actId="207"/>
          <ac:spMkLst>
            <pc:docMk/>
            <pc:sldMk cId="1560648663" sldId="2146847007"/>
            <ac:spMk id="19" creationId="{A7859E00-6DA0-4870-BAC6-664C52798747}"/>
          </ac:spMkLst>
        </pc:spChg>
        <pc:spChg chg="mod">
          <ac:chgData name="Toledo, Elena" userId="eded0357-d104-46c3-9338-e6270a8bf591" providerId="ADAL" clId="{BE3B60D5-DA9A-444F-ADB0-4A04F8208545}" dt="2021-10-13T20:27:21.049" v="1713" actId="207"/>
          <ac:spMkLst>
            <pc:docMk/>
            <pc:sldMk cId="1560648663" sldId="2146847007"/>
            <ac:spMk id="21" creationId="{B229536C-F74D-4EDD-8D23-39A4040AA3CF}"/>
          </ac:spMkLst>
        </pc:spChg>
        <pc:spChg chg="mod">
          <ac:chgData name="Toledo, Elena" userId="eded0357-d104-46c3-9338-e6270a8bf591" providerId="ADAL" clId="{BE3B60D5-DA9A-444F-ADB0-4A04F8208545}" dt="2021-10-13T20:27:21.049" v="1713" actId="207"/>
          <ac:spMkLst>
            <pc:docMk/>
            <pc:sldMk cId="1560648663" sldId="2146847007"/>
            <ac:spMk id="22" creationId="{7C5C8D58-56B4-4F64-AD3C-0B89A11448F9}"/>
          </ac:spMkLst>
        </pc:spChg>
        <pc:spChg chg="del mod">
          <ac:chgData name="Toledo, Elena" userId="eded0357-d104-46c3-9338-e6270a8bf591" providerId="ADAL" clId="{BE3B60D5-DA9A-444F-ADB0-4A04F8208545}" dt="2021-10-13T20:31:28.688" v="1906" actId="478"/>
          <ac:spMkLst>
            <pc:docMk/>
            <pc:sldMk cId="1560648663" sldId="2146847007"/>
            <ac:spMk id="32" creationId="{D5EFB148-1237-403B-B7A1-318AE3E6B3E4}"/>
          </ac:spMkLst>
        </pc:spChg>
        <pc:spChg chg="del mod">
          <ac:chgData name="Toledo, Elena" userId="eded0357-d104-46c3-9338-e6270a8bf591" providerId="ADAL" clId="{BE3B60D5-DA9A-444F-ADB0-4A04F8208545}" dt="2021-10-13T20:13:14.709" v="1257"/>
          <ac:spMkLst>
            <pc:docMk/>
            <pc:sldMk cId="1560648663" sldId="2146847007"/>
            <ac:spMk id="33" creationId="{94AE2022-95C3-464E-89F6-C07E96DB89BC}"/>
          </ac:spMkLst>
        </pc:spChg>
        <pc:spChg chg="mod">
          <ac:chgData name="Toledo, Elena" userId="eded0357-d104-46c3-9338-e6270a8bf591" providerId="ADAL" clId="{BE3B60D5-DA9A-444F-ADB0-4A04F8208545}" dt="2021-10-13T20:27:55.313" v="1742" actId="1035"/>
          <ac:spMkLst>
            <pc:docMk/>
            <pc:sldMk cId="1560648663" sldId="2146847007"/>
            <ac:spMk id="34" creationId="{DDACEBEF-1077-489F-8E9E-A02302C0CDCF}"/>
          </ac:spMkLst>
        </pc:spChg>
        <pc:spChg chg="mod">
          <ac:chgData name="Toledo, Elena" userId="eded0357-d104-46c3-9338-e6270a8bf591" providerId="ADAL" clId="{BE3B60D5-DA9A-444F-ADB0-4A04F8208545}" dt="2021-10-13T20:27:55.313" v="1742" actId="1035"/>
          <ac:spMkLst>
            <pc:docMk/>
            <pc:sldMk cId="1560648663" sldId="2146847007"/>
            <ac:spMk id="35" creationId="{9C1E0856-8BE2-4B08-B8FF-0DCEE1E3FA5A}"/>
          </ac:spMkLst>
        </pc:spChg>
        <pc:spChg chg="add del mod">
          <ac:chgData name="Toledo, Elena" userId="eded0357-d104-46c3-9338-e6270a8bf591" providerId="ADAL" clId="{BE3B60D5-DA9A-444F-ADB0-4A04F8208545}" dt="2021-10-13T20:03:44.150" v="989" actId="478"/>
          <ac:spMkLst>
            <pc:docMk/>
            <pc:sldMk cId="1560648663" sldId="2146847007"/>
            <ac:spMk id="45" creationId="{8C90C982-01C0-4C2C-90F2-A28BF24EB2D1}"/>
          </ac:spMkLst>
        </pc:spChg>
        <pc:spChg chg="add del mod">
          <ac:chgData name="Toledo, Elena" userId="eded0357-d104-46c3-9338-e6270a8bf591" providerId="ADAL" clId="{BE3B60D5-DA9A-444F-ADB0-4A04F8208545}" dt="2021-10-13T20:03:44.150" v="989" actId="478"/>
          <ac:spMkLst>
            <pc:docMk/>
            <pc:sldMk cId="1560648663" sldId="2146847007"/>
            <ac:spMk id="46" creationId="{BF8E464D-C918-4C68-AAA8-84682F00E21A}"/>
          </ac:spMkLst>
        </pc:spChg>
        <pc:spChg chg="add mod">
          <ac:chgData name="Toledo, Elena" userId="eded0357-d104-46c3-9338-e6270a8bf591" providerId="ADAL" clId="{BE3B60D5-DA9A-444F-ADB0-4A04F8208545}" dt="2021-10-13T20:27:42.809" v="1726" actId="164"/>
          <ac:spMkLst>
            <pc:docMk/>
            <pc:sldMk cId="1560648663" sldId="2146847007"/>
            <ac:spMk id="47" creationId="{9F9098E7-5EA8-407D-8B05-6B10D8EE0DB6}"/>
          </ac:spMkLst>
        </pc:spChg>
        <pc:spChg chg="add mod">
          <ac:chgData name="Toledo, Elena" userId="eded0357-d104-46c3-9338-e6270a8bf591" providerId="ADAL" clId="{BE3B60D5-DA9A-444F-ADB0-4A04F8208545}" dt="2021-10-13T20:27:42.809" v="1726" actId="164"/>
          <ac:spMkLst>
            <pc:docMk/>
            <pc:sldMk cId="1560648663" sldId="2146847007"/>
            <ac:spMk id="48" creationId="{1D337682-4CBB-4221-BA40-A90EC544DB1B}"/>
          </ac:spMkLst>
        </pc:spChg>
        <pc:spChg chg="add mod">
          <ac:chgData name="Toledo, Elena" userId="eded0357-d104-46c3-9338-e6270a8bf591" providerId="ADAL" clId="{BE3B60D5-DA9A-444F-ADB0-4A04F8208545}" dt="2021-10-13T20:27:42.809" v="1726" actId="164"/>
          <ac:spMkLst>
            <pc:docMk/>
            <pc:sldMk cId="1560648663" sldId="2146847007"/>
            <ac:spMk id="49" creationId="{500739BF-5AEF-457C-A127-69A9790F8BB0}"/>
          </ac:spMkLst>
        </pc:spChg>
        <pc:spChg chg="add mod">
          <ac:chgData name="Toledo, Elena" userId="eded0357-d104-46c3-9338-e6270a8bf591" providerId="ADAL" clId="{BE3B60D5-DA9A-444F-ADB0-4A04F8208545}" dt="2021-10-13T20:27:42.809" v="1726" actId="164"/>
          <ac:spMkLst>
            <pc:docMk/>
            <pc:sldMk cId="1560648663" sldId="2146847007"/>
            <ac:spMk id="50" creationId="{86F66A3A-109E-4071-8165-531399BFB0F8}"/>
          </ac:spMkLst>
        </pc:spChg>
        <pc:spChg chg="add mod">
          <ac:chgData name="Toledo, Elena" userId="eded0357-d104-46c3-9338-e6270a8bf591" providerId="ADAL" clId="{BE3B60D5-DA9A-444F-ADB0-4A04F8208545}" dt="2021-10-13T20:27:55.313" v="1742" actId="1035"/>
          <ac:spMkLst>
            <pc:docMk/>
            <pc:sldMk cId="1560648663" sldId="2146847007"/>
            <ac:spMk id="51" creationId="{2EC86C43-5C80-40B3-BCDF-CC26B8D9BEEC}"/>
          </ac:spMkLst>
        </pc:spChg>
        <pc:spChg chg="add mod">
          <ac:chgData name="Toledo, Elena" userId="eded0357-d104-46c3-9338-e6270a8bf591" providerId="ADAL" clId="{BE3B60D5-DA9A-444F-ADB0-4A04F8208545}" dt="2021-10-13T20:27:55.313" v="1742" actId="1035"/>
          <ac:spMkLst>
            <pc:docMk/>
            <pc:sldMk cId="1560648663" sldId="2146847007"/>
            <ac:spMk id="52" creationId="{57FA4176-7A76-4A19-B6AC-D82BC797C0D5}"/>
          </ac:spMkLst>
        </pc:spChg>
        <pc:spChg chg="add mod">
          <ac:chgData name="Toledo, Elena" userId="eded0357-d104-46c3-9338-e6270a8bf591" providerId="ADAL" clId="{BE3B60D5-DA9A-444F-ADB0-4A04F8208545}" dt="2021-10-13T20:27:55.313" v="1742" actId="1035"/>
          <ac:spMkLst>
            <pc:docMk/>
            <pc:sldMk cId="1560648663" sldId="2146847007"/>
            <ac:spMk id="53" creationId="{3E7866A8-3F65-48E9-9F1A-BF0E613A781E}"/>
          </ac:spMkLst>
        </pc:spChg>
        <pc:spChg chg="add mod">
          <ac:chgData name="Toledo, Elena" userId="eded0357-d104-46c3-9338-e6270a8bf591" providerId="ADAL" clId="{BE3B60D5-DA9A-444F-ADB0-4A04F8208545}" dt="2021-10-13T20:27:55.313" v="1742" actId="1035"/>
          <ac:spMkLst>
            <pc:docMk/>
            <pc:sldMk cId="1560648663" sldId="2146847007"/>
            <ac:spMk id="54" creationId="{EE3ED2DD-29BA-4BB0-B65C-7CE97B7AA98F}"/>
          </ac:spMkLst>
        </pc:spChg>
        <pc:spChg chg="add mod">
          <ac:chgData name="Toledo, Elena" userId="eded0357-d104-46c3-9338-e6270a8bf591" providerId="ADAL" clId="{BE3B60D5-DA9A-444F-ADB0-4A04F8208545}" dt="2021-10-13T20:27:55.313" v="1742" actId="1035"/>
          <ac:spMkLst>
            <pc:docMk/>
            <pc:sldMk cId="1560648663" sldId="2146847007"/>
            <ac:spMk id="55" creationId="{22942DCE-1251-4692-ADF1-7BAB01CA93DC}"/>
          </ac:spMkLst>
        </pc:spChg>
        <pc:spChg chg="add mod">
          <ac:chgData name="Toledo, Elena" userId="eded0357-d104-46c3-9338-e6270a8bf591" providerId="ADAL" clId="{BE3B60D5-DA9A-444F-ADB0-4A04F8208545}" dt="2021-10-13T20:27:55.313" v="1742" actId="1035"/>
          <ac:spMkLst>
            <pc:docMk/>
            <pc:sldMk cId="1560648663" sldId="2146847007"/>
            <ac:spMk id="56" creationId="{A87CCD7B-C6A2-48B6-8A4E-823BC08C6908}"/>
          </ac:spMkLst>
        </pc:spChg>
        <pc:spChg chg="add del mod">
          <ac:chgData name="Toledo, Elena" userId="eded0357-d104-46c3-9338-e6270a8bf591" providerId="ADAL" clId="{BE3B60D5-DA9A-444F-ADB0-4A04F8208545}" dt="2021-10-13T20:21:12.729" v="1575" actId="478"/>
          <ac:spMkLst>
            <pc:docMk/>
            <pc:sldMk cId="1560648663" sldId="2146847007"/>
            <ac:spMk id="57" creationId="{A1822AB7-69A4-4517-954E-2A33AFBAEE04}"/>
          </ac:spMkLst>
        </pc:spChg>
        <pc:spChg chg="add mod">
          <ac:chgData name="Toledo, Elena" userId="eded0357-d104-46c3-9338-e6270a8bf591" providerId="ADAL" clId="{BE3B60D5-DA9A-444F-ADB0-4A04F8208545}" dt="2021-10-13T20:27:55.313" v="1742" actId="1035"/>
          <ac:spMkLst>
            <pc:docMk/>
            <pc:sldMk cId="1560648663" sldId="2146847007"/>
            <ac:spMk id="58" creationId="{57C586E9-2343-4CF7-A03E-6E0AD82F47DE}"/>
          </ac:spMkLst>
        </pc:spChg>
        <pc:spChg chg="add mod">
          <ac:chgData name="Toledo, Elena" userId="eded0357-d104-46c3-9338-e6270a8bf591" providerId="ADAL" clId="{BE3B60D5-DA9A-444F-ADB0-4A04F8208545}" dt="2021-10-13T20:27:55.313" v="1742" actId="1035"/>
          <ac:spMkLst>
            <pc:docMk/>
            <pc:sldMk cId="1560648663" sldId="2146847007"/>
            <ac:spMk id="59" creationId="{9A7D7F2D-5B4C-46DC-8C15-2E477782F6BD}"/>
          </ac:spMkLst>
        </pc:spChg>
        <pc:spChg chg="add mod">
          <ac:chgData name="Toledo, Elena" userId="eded0357-d104-46c3-9338-e6270a8bf591" providerId="ADAL" clId="{BE3B60D5-DA9A-444F-ADB0-4A04F8208545}" dt="2021-10-13T20:27:55.313" v="1742" actId="1035"/>
          <ac:spMkLst>
            <pc:docMk/>
            <pc:sldMk cId="1560648663" sldId="2146847007"/>
            <ac:spMk id="60" creationId="{2905019A-E0B3-4C6D-825B-C7643909B160}"/>
          </ac:spMkLst>
        </pc:spChg>
        <pc:spChg chg="add mod">
          <ac:chgData name="Toledo, Elena" userId="eded0357-d104-46c3-9338-e6270a8bf591" providerId="ADAL" clId="{BE3B60D5-DA9A-444F-ADB0-4A04F8208545}" dt="2021-10-20T13:50:02.665" v="7459" actId="14100"/>
          <ac:spMkLst>
            <pc:docMk/>
            <pc:sldMk cId="1560648663" sldId="2146847007"/>
            <ac:spMk id="63" creationId="{23064993-61B2-4002-90E2-F281B374F458}"/>
          </ac:spMkLst>
        </pc:spChg>
        <pc:spChg chg="add mod">
          <ac:chgData name="Toledo, Elena" userId="eded0357-d104-46c3-9338-e6270a8bf591" providerId="ADAL" clId="{BE3B60D5-DA9A-444F-ADB0-4A04F8208545}" dt="2021-10-13T20:31:34.528" v="1908" actId="1076"/>
          <ac:spMkLst>
            <pc:docMk/>
            <pc:sldMk cId="1560648663" sldId="2146847007"/>
            <ac:spMk id="64" creationId="{53CF9B2C-0E94-4B71-9700-2BC9CCF40A7A}"/>
          </ac:spMkLst>
        </pc:spChg>
        <pc:spChg chg="mod">
          <ac:chgData name="Toledo, Elena" userId="eded0357-d104-46c3-9338-e6270a8bf591" providerId="ADAL" clId="{BE3B60D5-DA9A-444F-ADB0-4A04F8208545}" dt="2021-10-13T20:27:55.313" v="1742" actId="1035"/>
          <ac:spMkLst>
            <pc:docMk/>
            <pc:sldMk cId="1560648663" sldId="2146847007"/>
            <ac:spMk id="127" creationId="{E74BAF50-621C-4E43-8998-16CE22E12A01}"/>
          </ac:spMkLst>
        </pc:spChg>
        <pc:spChg chg="mod">
          <ac:chgData name="Toledo, Elena" userId="eded0357-d104-46c3-9338-e6270a8bf591" providerId="ADAL" clId="{BE3B60D5-DA9A-444F-ADB0-4A04F8208545}" dt="2021-10-13T20:27:55.313" v="1742" actId="1035"/>
          <ac:spMkLst>
            <pc:docMk/>
            <pc:sldMk cId="1560648663" sldId="2146847007"/>
            <ac:spMk id="129" creationId="{1B12C7AD-EB0B-4D95-AE52-DED4493BFAE1}"/>
          </ac:spMkLst>
        </pc:spChg>
        <pc:spChg chg="mod">
          <ac:chgData name="Toledo, Elena" userId="eded0357-d104-46c3-9338-e6270a8bf591" providerId="ADAL" clId="{BE3B60D5-DA9A-444F-ADB0-4A04F8208545}" dt="2021-10-13T20:27:55.313" v="1742" actId="1035"/>
          <ac:spMkLst>
            <pc:docMk/>
            <pc:sldMk cId="1560648663" sldId="2146847007"/>
            <ac:spMk id="131" creationId="{3ED66421-925C-4A72-B180-586B65BBB974}"/>
          </ac:spMkLst>
        </pc:spChg>
        <pc:spChg chg="mod">
          <ac:chgData name="Toledo, Elena" userId="eded0357-d104-46c3-9338-e6270a8bf591" providerId="ADAL" clId="{BE3B60D5-DA9A-444F-ADB0-4A04F8208545}" dt="2021-10-18T15:16:46.002" v="3397"/>
          <ac:spMkLst>
            <pc:docMk/>
            <pc:sldMk cId="1560648663" sldId="2146847007"/>
            <ac:spMk id="132" creationId="{3A1C1A72-16BF-4529-983D-BDE109850C93}"/>
          </ac:spMkLst>
        </pc:spChg>
        <pc:spChg chg="mod">
          <ac:chgData name="Toledo, Elena" userId="eded0357-d104-46c3-9338-e6270a8bf591" providerId="ADAL" clId="{BE3B60D5-DA9A-444F-ADB0-4A04F8208545}" dt="2021-10-13T20:27:55.313" v="1742" actId="1035"/>
          <ac:spMkLst>
            <pc:docMk/>
            <pc:sldMk cId="1560648663" sldId="2146847007"/>
            <ac:spMk id="133" creationId="{819575EB-5389-432F-A520-D5BC414668BD}"/>
          </ac:spMkLst>
        </pc:spChg>
        <pc:spChg chg="del mod">
          <ac:chgData name="Toledo, Elena" userId="eded0357-d104-46c3-9338-e6270a8bf591" providerId="ADAL" clId="{BE3B60D5-DA9A-444F-ADB0-4A04F8208545}" dt="2021-10-13T20:18:13.973" v="1464" actId="478"/>
          <ac:spMkLst>
            <pc:docMk/>
            <pc:sldMk cId="1560648663" sldId="2146847007"/>
            <ac:spMk id="134" creationId="{FEBA63E5-1023-42EA-8F79-2C311A9D37F2}"/>
          </ac:spMkLst>
        </pc:spChg>
        <pc:spChg chg="del mod">
          <ac:chgData name="Toledo, Elena" userId="eded0357-d104-46c3-9338-e6270a8bf591" providerId="ADAL" clId="{BE3B60D5-DA9A-444F-ADB0-4A04F8208545}" dt="2021-10-13T20:18:44.335" v="1515" actId="478"/>
          <ac:spMkLst>
            <pc:docMk/>
            <pc:sldMk cId="1560648663" sldId="2146847007"/>
            <ac:spMk id="135" creationId="{EC7033F8-62B0-4E3B-A674-D4460B551F46}"/>
          </ac:spMkLst>
        </pc:spChg>
        <pc:spChg chg="mod">
          <ac:chgData name="Toledo, Elena" userId="eded0357-d104-46c3-9338-e6270a8bf591" providerId="ADAL" clId="{BE3B60D5-DA9A-444F-ADB0-4A04F8208545}" dt="2021-10-13T20:27:55.313" v="1742" actId="1035"/>
          <ac:spMkLst>
            <pc:docMk/>
            <pc:sldMk cId="1560648663" sldId="2146847007"/>
            <ac:spMk id="136" creationId="{D07379DF-3F27-40C0-8964-C4C6F379E61F}"/>
          </ac:spMkLst>
        </pc:spChg>
        <pc:spChg chg="mod">
          <ac:chgData name="Toledo, Elena" userId="eded0357-d104-46c3-9338-e6270a8bf591" providerId="ADAL" clId="{BE3B60D5-DA9A-444F-ADB0-4A04F8208545}" dt="2021-10-13T20:27:55.313" v="1742" actId="1035"/>
          <ac:spMkLst>
            <pc:docMk/>
            <pc:sldMk cId="1560648663" sldId="2146847007"/>
            <ac:spMk id="137" creationId="{E79325FA-EF90-45F6-98ED-B5952226A932}"/>
          </ac:spMkLst>
        </pc:spChg>
        <pc:spChg chg="mod">
          <ac:chgData name="Toledo, Elena" userId="eded0357-d104-46c3-9338-e6270a8bf591" providerId="ADAL" clId="{BE3B60D5-DA9A-444F-ADB0-4A04F8208545}" dt="2021-10-18T15:16:36.553" v="3396" actId="20577"/>
          <ac:spMkLst>
            <pc:docMk/>
            <pc:sldMk cId="1560648663" sldId="2146847007"/>
            <ac:spMk id="138" creationId="{8093E3D7-AC8C-4695-A108-C0923E90FAA1}"/>
          </ac:spMkLst>
        </pc:spChg>
        <pc:spChg chg="del mod">
          <ac:chgData name="Toledo, Elena" userId="eded0357-d104-46c3-9338-e6270a8bf591" providerId="ADAL" clId="{BE3B60D5-DA9A-444F-ADB0-4A04F8208545}" dt="2021-10-13T20:18:55.586" v="1518" actId="478"/>
          <ac:spMkLst>
            <pc:docMk/>
            <pc:sldMk cId="1560648663" sldId="2146847007"/>
            <ac:spMk id="139" creationId="{9156CBD8-3204-46B7-BEE8-1C0229D2A1ED}"/>
          </ac:spMkLst>
        </pc:spChg>
        <pc:spChg chg="mod">
          <ac:chgData name="Toledo, Elena" userId="eded0357-d104-46c3-9338-e6270a8bf591" providerId="ADAL" clId="{BE3B60D5-DA9A-444F-ADB0-4A04F8208545}" dt="2021-10-13T20:27:55.313" v="1742" actId="1035"/>
          <ac:spMkLst>
            <pc:docMk/>
            <pc:sldMk cId="1560648663" sldId="2146847007"/>
            <ac:spMk id="142" creationId="{3D75881E-02D9-4EB7-9D70-F086182E1A13}"/>
          </ac:spMkLst>
        </pc:spChg>
        <pc:spChg chg="del mod">
          <ac:chgData name="Toledo, Elena" userId="eded0357-d104-46c3-9338-e6270a8bf591" providerId="ADAL" clId="{BE3B60D5-DA9A-444F-ADB0-4A04F8208545}" dt="2021-10-13T20:20:39.730" v="1561" actId="478"/>
          <ac:spMkLst>
            <pc:docMk/>
            <pc:sldMk cId="1560648663" sldId="2146847007"/>
            <ac:spMk id="143" creationId="{0A076BEB-1A93-437C-98F7-76A2214943E1}"/>
          </ac:spMkLst>
        </pc:spChg>
        <pc:spChg chg="mod">
          <ac:chgData name="Toledo, Elena" userId="eded0357-d104-46c3-9338-e6270a8bf591" providerId="ADAL" clId="{BE3B60D5-DA9A-444F-ADB0-4A04F8208545}" dt="2021-10-18T15:17:57.114" v="3414" actId="1076"/>
          <ac:spMkLst>
            <pc:docMk/>
            <pc:sldMk cId="1560648663" sldId="2146847007"/>
            <ac:spMk id="144" creationId="{A04A4D17-01DC-49A1-B863-411E3C746B97}"/>
          </ac:spMkLst>
        </pc:spChg>
        <pc:spChg chg="del mod">
          <ac:chgData name="Toledo, Elena" userId="eded0357-d104-46c3-9338-e6270a8bf591" providerId="ADAL" clId="{BE3B60D5-DA9A-444F-ADB0-4A04F8208545}" dt="2021-10-13T20:20:45.346" v="1564" actId="478"/>
          <ac:spMkLst>
            <pc:docMk/>
            <pc:sldMk cId="1560648663" sldId="2146847007"/>
            <ac:spMk id="145" creationId="{CBA09BC0-A639-4C97-8CA7-608DC3F61EA0}"/>
          </ac:spMkLst>
        </pc:spChg>
        <pc:spChg chg="del mod">
          <ac:chgData name="Toledo, Elena" userId="eded0357-d104-46c3-9338-e6270a8bf591" providerId="ADAL" clId="{BE3B60D5-DA9A-444F-ADB0-4A04F8208545}" dt="2021-10-13T20:20:52.501" v="1567" actId="478"/>
          <ac:spMkLst>
            <pc:docMk/>
            <pc:sldMk cId="1560648663" sldId="2146847007"/>
            <ac:spMk id="146" creationId="{EC324412-E863-4127-9A0C-F6D69077627A}"/>
          </ac:spMkLst>
        </pc:spChg>
        <pc:spChg chg="del mod">
          <ac:chgData name="Toledo, Elena" userId="eded0357-d104-46c3-9338-e6270a8bf591" providerId="ADAL" clId="{BE3B60D5-DA9A-444F-ADB0-4A04F8208545}" dt="2021-10-13T20:20:59.397" v="1570" actId="478"/>
          <ac:spMkLst>
            <pc:docMk/>
            <pc:sldMk cId="1560648663" sldId="2146847007"/>
            <ac:spMk id="147" creationId="{9F86732D-3473-40C9-9DEE-A4FBA7CBD2B4}"/>
          </ac:spMkLst>
        </pc:spChg>
        <pc:spChg chg="mod">
          <ac:chgData name="Toledo, Elena" userId="eded0357-d104-46c3-9338-e6270a8bf591" providerId="ADAL" clId="{BE3B60D5-DA9A-444F-ADB0-4A04F8208545}" dt="2021-10-13T20:27:55.313" v="1742" actId="1035"/>
          <ac:spMkLst>
            <pc:docMk/>
            <pc:sldMk cId="1560648663" sldId="2146847007"/>
            <ac:spMk id="148" creationId="{E06A1FD3-C2D2-45FC-914C-1A8454C99169}"/>
          </ac:spMkLst>
        </pc:spChg>
        <pc:spChg chg="del mod">
          <ac:chgData name="Toledo, Elena" userId="eded0357-d104-46c3-9338-e6270a8bf591" providerId="ADAL" clId="{BE3B60D5-DA9A-444F-ADB0-4A04F8208545}" dt="2021-10-13T20:21:02.166" v="1571" actId="478"/>
          <ac:spMkLst>
            <pc:docMk/>
            <pc:sldMk cId="1560648663" sldId="2146847007"/>
            <ac:spMk id="149" creationId="{14D0DCDE-1EFC-4110-A0A9-772C1AAF1717}"/>
          </ac:spMkLst>
        </pc:spChg>
        <pc:spChg chg="del mod">
          <ac:chgData name="Toledo, Elena" userId="eded0357-d104-46c3-9338-e6270a8bf591" providerId="ADAL" clId="{BE3B60D5-DA9A-444F-ADB0-4A04F8208545}" dt="2021-10-13T20:21:06.039" v="1572" actId="478"/>
          <ac:spMkLst>
            <pc:docMk/>
            <pc:sldMk cId="1560648663" sldId="2146847007"/>
            <ac:spMk id="150" creationId="{E72F09D5-0356-4104-AAF9-1ACDFA1C63B1}"/>
          </ac:spMkLst>
        </pc:spChg>
        <pc:grpChg chg="add mod">
          <ac:chgData name="Toledo, Elena" userId="eded0357-d104-46c3-9338-e6270a8bf591" providerId="ADAL" clId="{BE3B60D5-DA9A-444F-ADB0-4A04F8208545}" dt="2021-10-13T20:27:18.559" v="1709" actId="164"/>
          <ac:grpSpMkLst>
            <pc:docMk/>
            <pc:sldMk cId="1560648663" sldId="2146847007"/>
            <ac:grpSpMk id="2" creationId="{6866D109-5A84-42C6-A90F-9F093B13F8EB}"/>
          </ac:grpSpMkLst>
        </pc:grpChg>
        <pc:grpChg chg="add mod">
          <ac:chgData name="Toledo, Elena" userId="eded0357-d104-46c3-9338-e6270a8bf591" providerId="ADAL" clId="{BE3B60D5-DA9A-444F-ADB0-4A04F8208545}" dt="2021-10-13T20:31:20.447" v="1905" actId="1036"/>
          <ac:grpSpMkLst>
            <pc:docMk/>
            <pc:sldMk cId="1560648663" sldId="2146847007"/>
            <ac:grpSpMk id="3" creationId="{37E3A0C4-1E1D-4AA4-A08B-4BFC23DB7E92}"/>
          </ac:grpSpMkLst>
        </pc:grpChg>
        <pc:grpChg chg="mod">
          <ac:chgData name="Toledo, Elena" userId="eded0357-d104-46c3-9338-e6270a8bf591" providerId="ADAL" clId="{BE3B60D5-DA9A-444F-ADB0-4A04F8208545}" dt="2021-10-13T20:27:55.313" v="1742" actId="1035"/>
          <ac:grpSpMkLst>
            <pc:docMk/>
            <pc:sldMk cId="1560648663" sldId="2146847007"/>
            <ac:grpSpMk id="11" creationId="{99E903BA-2B5A-4136-9254-C20261D25C54}"/>
          </ac:grpSpMkLst>
        </pc:grpChg>
        <pc:grpChg chg="mod">
          <ac:chgData name="Toledo, Elena" userId="eded0357-d104-46c3-9338-e6270a8bf591" providerId="ADAL" clId="{BE3B60D5-DA9A-444F-ADB0-4A04F8208545}" dt="2021-10-13T20:27:55.313" v="1742" actId="1035"/>
          <ac:grpSpMkLst>
            <pc:docMk/>
            <pc:sldMk cId="1560648663" sldId="2146847007"/>
            <ac:grpSpMk id="14" creationId="{F4F1705B-FC8C-4FAB-9BD4-E8AC4CA3B7F1}"/>
          </ac:grpSpMkLst>
        </pc:grpChg>
        <pc:grpChg chg="mod">
          <ac:chgData name="Toledo, Elena" userId="eded0357-d104-46c3-9338-e6270a8bf591" providerId="ADAL" clId="{BE3B60D5-DA9A-444F-ADB0-4A04F8208545}" dt="2021-10-13T20:27:55.313" v="1742" actId="1035"/>
          <ac:grpSpMkLst>
            <pc:docMk/>
            <pc:sldMk cId="1560648663" sldId="2146847007"/>
            <ac:grpSpMk id="17" creationId="{A1664725-DFF1-4FE1-9500-3425ACECF963}"/>
          </ac:grpSpMkLst>
        </pc:grpChg>
        <pc:grpChg chg="mod">
          <ac:chgData name="Toledo, Elena" userId="eded0357-d104-46c3-9338-e6270a8bf591" providerId="ADAL" clId="{BE3B60D5-DA9A-444F-ADB0-4A04F8208545}" dt="2021-10-13T20:27:55.313" v="1742" actId="1035"/>
          <ac:grpSpMkLst>
            <pc:docMk/>
            <pc:sldMk cId="1560648663" sldId="2146847007"/>
            <ac:grpSpMk id="20" creationId="{930CF7CD-95EA-4DFA-A9C1-7E78B3D1BED0}"/>
          </ac:grpSpMkLst>
        </pc:grpChg>
        <pc:cxnChg chg="mod">
          <ac:chgData name="Toledo, Elena" userId="eded0357-d104-46c3-9338-e6270a8bf591" providerId="ADAL" clId="{BE3B60D5-DA9A-444F-ADB0-4A04F8208545}" dt="2021-10-13T20:27:55.313" v="1742" actId="1035"/>
          <ac:cxnSpMkLst>
            <pc:docMk/>
            <pc:sldMk cId="1560648663" sldId="2146847007"/>
            <ac:cxnSpMk id="7" creationId="{37B2ACB8-09B2-442B-A56F-2770A67C9A6E}"/>
          </ac:cxnSpMkLst>
        </pc:cxnChg>
        <pc:cxnChg chg="mod">
          <ac:chgData name="Toledo, Elena" userId="eded0357-d104-46c3-9338-e6270a8bf591" providerId="ADAL" clId="{BE3B60D5-DA9A-444F-ADB0-4A04F8208545}" dt="2021-10-13T20:27:55.313" v="1742" actId="1035"/>
          <ac:cxnSpMkLst>
            <pc:docMk/>
            <pc:sldMk cId="1560648663" sldId="2146847007"/>
            <ac:cxnSpMk id="128" creationId="{C7E8E748-724A-40C4-9C13-42E7B5CF732A}"/>
          </ac:cxnSpMkLst>
        </pc:cxnChg>
        <pc:cxnChg chg="mod">
          <ac:chgData name="Toledo, Elena" userId="eded0357-d104-46c3-9338-e6270a8bf591" providerId="ADAL" clId="{BE3B60D5-DA9A-444F-ADB0-4A04F8208545}" dt="2021-10-13T20:27:55.313" v="1742" actId="1035"/>
          <ac:cxnSpMkLst>
            <pc:docMk/>
            <pc:sldMk cId="1560648663" sldId="2146847007"/>
            <ac:cxnSpMk id="130" creationId="{2708C5CA-2BB0-473D-AD61-02443C3AE84A}"/>
          </ac:cxnSpMkLst>
        </pc:cxnChg>
        <pc:cxnChg chg="mod">
          <ac:chgData name="Toledo, Elena" userId="eded0357-d104-46c3-9338-e6270a8bf591" providerId="ADAL" clId="{BE3B60D5-DA9A-444F-ADB0-4A04F8208545}" dt="2021-10-13T20:27:55.313" v="1742" actId="1035"/>
          <ac:cxnSpMkLst>
            <pc:docMk/>
            <pc:sldMk cId="1560648663" sldId="2146847007"/>
            <ac:cxnSpMk id="141" creationId="{4A455BB8-E835-44B5-8271-A5BFC104693D}"/>
          </ac:cxnSpMkLst>
        </pc:cxnChg>
      </pc:sldChg>
      <pc:sldChg chg="addSp delSp modSp add mod ord">
        <pc:chgData name="Toledo, Elena" userId="eded0357-d104-46c3-9338-e6270a8bf591" providerId="ADAL" clId="{BE3B60D5-DA9A-444F-ADB0-4A04F8208545}" dt="2021-10-20T13:04:42.543" v="6470"/>
        <pc:sldMkLst>
          <pc:docMk/>
          <pc:sldMk cId="3873671275" sldId="2146847008"/>
        </pc:sldMkLst>
        <pc:spChg chg="add del mod">
          <ac:chgData name="Toledo, Elena" userId="eded0357-d104-46c3-9338-e6270a8bf591" providerId="ADAL" clId="{BE3B60D5-DA9A-444F-ADB0-4A04F8208545}" dt="2021-10-19T12:17:40.397" v="4903" actId="478"/>
          <ac:spMkLst>
            <pc:docMk/>
            <pc:sldMk cId="3873671275" sldId="2146847008"/>
            <ac:spMk id="2" creationId="{13D1984C-CC0A-4575-B703-0181345757F5}"/>
          </ac:spMkLst>
        </pc:spChg>
        <pc:spChg chg="del mod">
          <ac:chgData name="Toledo, Elena" userId="eded0357-d104-46c3-9338-e6270a8bf591" providerId="ADAL" clId="{BE3B60D5-DA9A-444F-ADB0-4A04F8208545}" dt="2021-10-18T15:26:04.150" v="3915" actId="478"/>
          <ac:spMkLst>
            <pc:docMk/>
            <pc:sldMk cId="3873671275" sldId="2146847008"/>
            <ac:spMk id="15" creationId="{42AD3635-6B1E-4D90-B610-6361BEFB04EA}"/>
          </ac:spMkLst>
        </pc:spChg>
        <pc:spChg chg="mod">
          <ac:chgData name="Toledo, Elena" userId="eded0357-d104-46c3-9338-e6270a8bf591" providerId="ADAL" clId="{BE3B60D5-DA9A-444F-ADB0-4A04F8208545}" dt="2021-10-18T17:19:42.977" v="4461" actId="1036"/>
          <ac:spMkLst>
            <pc:docMk/>
            <pc:sldMk cId="3873671275" sldId="2146847008"/>
            <ac:spMk id="17" creationId="{6A8298CC-5E2E-4BAA-82D5-43D06129DD3C}"/>
          </ac:spMkLst>
        </pc:spChg>
        <pc:spChg chg="mod">
          <ac:chgData name="Toledo, Elena" userId="eded0357-d104-46c3-9338-e6270a8bf591" providerId="ADAL" clId="{BE3B60D5-DA9A-444F-ADB0-4A04F8208545}" dt="2021-10-18T15:24:57.465" v="3843" actId="14100"/>
          <ac:spMkLst>
            <pc:docMk/>
            <pc:sldMk cId="3873671275" sldId="2146847008"/>
            <ac:spMk id="22" creationId="{26504CF4-20F7-4B5D-ABF7-AF170C5E95F0}"/>
          </ac:spMkLst>
        </pc:spChg>
        <pc:spChg chg="add mod">
          <ac:chgData name="Toledo, Elena" userId="eded0357-d104-46c3-9338-e6270a8bf591" providerId="ADAL" clId="{BE3B60D5-DA9A-444F-ADB0-4A04F8208545}" dt="2021-10-18T15:26:04.955" v="3916"/>
          <ac:spMkLst>
            <pc:docMk/>
            <pc:sldMk cId="3873671275" sldId="2146847008"/>
            <ac:spMk id="26" creationId="{9B99460A-4AB2-48D7-8464-EDCE32EC6D87}"/>
          </ac:spMkLst>
        </pc:spChg>
        <pc:spChg chg="add mod">
          <ac:chgData name="Toledo, Elena" userId="eded0357-d104-46c3-9338-e6270a8bf591" providerId="ADAL" clId="{BE3B60D5-DA9A-444F-ADB0-4A04F8208545}" dt="2021-10-18T15:26:32.070" v="3923" actId="20577"/>
          <ac:spMkLst>
            <pc:docMk/>
            <pc:sldMk cId="3873671275" sldId="2146847008"/>
            <ac:spMk id="27" creationId="{4F6BD348-174F-4AB3-A15A-4A5328434A9A}"/>
          </ac:spMkLst>
        </pc:spChg>
        <pc:spChg chg="add mod">
          <ac:chgData name="Toledo, Elena" userId="eded0357-d104-46c3-9338-e6270a8bf591" providerId="ADAL" clId="{BE3B60D5-DA9A-444F-ADB0-4A04F8208545}" dt="2021-10-18T15:28:44.598" v="4109" actId="208"/>
          <ac:spMkLst>
            <pc:docMk/>
            <pc:sldMk cId="3873671275" sldId="2146847008"/>
            <ac:spMk id="28" creationId="{3CCDB9B9-79AB-48DE-9D0C-2F01DBA43247}"/>
          </ac:spMkLst>
        </pc:spChg>
        <pc:spChg chg="add mod">
          <ac:chgData name="Toledo, Elena" userId="eded0357-d104-46c3-9338-e6270a8bf591" providerId="ADAL" clId="{BE3B60D5-DA9A-444F-ADB0-4A04F8208545}" dt="2021-10-18T15:28:13.808" v="4077" actId="20577"/>
          <ac:spMkLst>
            <pc:docMk/>
            <pc:sldMk cId="3873671275" sldId="2146847008"/>
            <ac:spMk id="29" creationId="{C0CA9714-C13F-4467-8AEC-F8D67BE5DF34}"/>
          </ac:spMkLst>
        </pc:spChg>
        <pc:spChg chg="add mod">
          <ac:chgData name="Toledo, Elena" userId="eded0357-d104-46c3-9338-e6270a8bf591" providerId="ADAL" clId="{BE3B60D5-DA9A-444F-ADB0-4A04F8208545}" dt="2021-10-18T15:30:07.622" v="4164" actId="20577"/>
          <ac:spMkLst>
            <pc:docMk/>
            <pc:sldMk cId="3873671275" sldId="2146847008"/>
            <ac:spMk id="30" creationId="{1CEC2EDB-05E4-4233-8B0B-3FE034F3F31A}"/>
          </ac:spMkLst>
        </pc:spChg>
        <pc:spChg chg="add mod">
          <ac:chgData name="Toledo, Elena" userId="eded0357-d104-46c3-9338-e6270a8bf591" providerId="ADAL" clId="{BE3B60D5-DA9A-444F-ADB0-4A04F8208545}" dt="2021-10-18T15:30:13.714" v="4169" actId="1038"/>
          <ac:spMkLst>
            <pc:docMk/>
            <pc:sldMk cId="3873671275" sldId="2146847008"/>
            <ac:spMk id="34" creationId="{AC93D25B-8E07-4498-85C0-37713294C7F5}"/>
          </ac:spMkLst>
        </pc:spChg>
        <pc:spChg chg="add mod">
          <ac:chgData name="Toledo, Elena" userId="eded0357-d104-46c3-9338-e6270a8bf591" providerId="ADAL" clId="{BE3B60D5-DA9A-444F-ADB0-4A04F8208545}" dt="2021-10-18T15:30:13.714" v="4169" actId="1038"/>
          <ac:spMkLst>
            <pc:docMk/>
            <pc:sldMk cId="3873671275" sldId="2146847008"/>
            <ac:spMk id="35" creationId="{264A5871-A0DC-4425-9E16-36B10966AD9C}"/>
          </ac:spMkLst>
        </pc:spChg>
        <pc:spChg chg="mod">
          <ac:chgData name="Toledo, Elena" userId="eded0357-d104-46c3-9338-e6270a8bf591" providerId="ADAL" clId="{BE3B60D5-DA9A-444F-ADB0-4A04F8208545}" dt="2021-10-15T21:54:27.390" v="2976" actId="14100"/>
          <ac:spMkLst>
            <pc:docMk/>
            <pc:sldMk cId="3873671275" sldId="2146847008"/>
            <ac:spMk id="36" creationId="{7EB8E24B-452C-487B-B03F-2D570E305C2D}"/>
          </ac:spMkLst>
        </pc:spChg>
        <pc:spChg chg="add mod">
          <ac:chgData name="Toledo, Elena" userId="eded0357-d104-46c3-9338-e6270a8bf591" providerId="ADAL" clId="{BE3B60D5-DA9A-444F-ADB0-4A04F8208545}" dt="2021-10-20T12:16:19.150" v="5877" actId="20577"/>
          <ac:spMkLst>
            <pc:docMk/>
            <pc:sldMk cId="3873671275" sldId="2146847008"/>
            <ac:spMk id="37" creationId="{20D51CD5-B892-434C-810A-EA91B7085238}"/>
          </ac:spMkLst>
        </pc:spChg>
        <pc:spChg chg="del mod">
          <ac:chgData name="Toledo, Elena" userId="eded0357-d104-46c3-9338-e6270a8bf591" providerId="ADAL" clId="{BE3B60D5-DA9A-444F-ADB0-4A04F8208545}" dt="2021-10-18T15:27:42.787" v="4059" actId="478"/>
          <ac:spMkLst>
            <pc:docMk/>
            <pc:sldMk cId="3873671275" sldId="2146847008"/>
            <ac:spMk id="37" creationId="{6A2CD731-851B-4170-828B-5DDD01CFD185}"/>
          </ac:spMkLst>
        </pc:spChg>
        <pc:spChg chg="add mod">
          <ac:chgData name="Toledo, Elena" userId="eded0357-d104-46c3-9338-e6270a8bf591" providerId="ADAL" clId="{BE3B60D5-DA9A-444F-ADB0-4A04F8208545}" dt="2021-10-18T15:29:22.304" v="4140" actId="1037"/>
          <ac:spMkLst>
            <pc:docMk/>
            <pc:sldMk cId="3873671275" sldId="2146847008"/>
            <ac:spMk id="39" creationId="{33B27133-EE21-4331-94D7-9847645AE9C7}"/>
          </ac:spMkLst>
        </pc:spChg>
        <pc:spChg chg="del">
          <ac:chgData name="Toledo, Elena" userId="eded0357-d104-46c3-9338-e6270a8bf591" providerId="ADAL" clId="{BE3B60D5-DA9A-444F-ADB0-4A04F8208545}" dt="2021-10-15T19:05:37.514" v="2489" actId="478"/>
          <ac:spMkLst>
            <pc:docMk/>
            <pc:sldMk cId="3873671275" sldId="2146847008"/>
            <ac:spMk id="39" creationId="{FC8B88BA-6625-4DD9-BD92-00790E085F10}"/>
          </ac:spMkLst>
        </pc:spChg>
        <pc:spChg chg="add mod">
          <ac:chgData name="Toledo, Elena" userId="eded0357-d104-46c3-9338-e6270a8bf591" providerId="ADAL" clId="{BE3B60D5-DA9A-444F-ADB0-4A04F8208545}" dt="2021-10-18T15:29:54.305" v="4155" actId="14100"/>
          <ac:spMkLst>
            <pc:docMk/>
            <pc:sldMk cId="3873671275" sldId="2146847008"/>
            <ac:spMk id="40" creationId="{E8DE0497-B0E1-48F0-8ABA-1890477DDD35}"/>
          </ac:spMkLst>
        </pc:spChg>
        <pc:spChg chg="mod">
          <ac:chgData name="Toledo, Elena" userId="eded0357-d104-46c3-9338-e6270a8bf591" providerId="ADAL" clId="{BE3B60D5-DA9A-444F-ADB0-4A04F8208545}" dt="2021-10-19T14:35:53.880" v="5438" actId="20577"/>
          <ac:spMkLst>
            <pc:docMk/>
            <pc:sldMk cId="3873671275" sldId="2146847008"/>
            <ac:spMk id="41" creationId="{59EA9267-942B-4D68-9FA9-49087C4A5F12}"/>
          </ac:spMkLst>
        </pc:spChg>
        <pc:spChg chg="mod">
          <ac:chgData name="Toledo, Elena" userId="eded0357-d104-46c3-9338-e6270a8bf591" providerId="ADAL" clId="{BE3B60D5-DA9A-444F-ADB0-4A04F8208545}" dt="2021-10-18T15:27:11.804" v="4003" actId="108"/>
          <ac:spMkLst>
            <pc:docMk/>
            <pc:sldMk cId="3873671275" sldId="2146847008"/>
            <ac:spMk id="42" creationId="{A327B052-FFDA-4917-A229-F34C2748DFC6}"/>
          </ac:spMkLst>
        </pc:spChg>
        <pc:spChg chg="add mod">
          <ac:chgData name="Toledo, Elena" userId="eded0357-d104-46c3-9338-e6270a8bf591" providerId="ADAL" clId="{BE3B60D5-DA9A-444F-ADB0-4A04F8208545}" dt="2021-10-18T15:28:57.609" v="4110" actId="207"/>
          <ac:spMkLst>
            <pc:docMk/>
            <pc:sldMk cId="3873671275" sldId="2146847008"/>
            <ac:spMk id="43" creationId="{E6134A6B-FE56-4B75-9134-EC0F2B4D81C8}"/>
          </ac:spMkLst>
        </pc:spChg>
        <pc:spChg chg="del mod">
          <ac:chgData name="Toledo, Elena" userId="eded0357-d104-46c3-9338-e6270a8bf591" providerId="ADAL" clId="{BE3B60D5-DA9A-444F-ADB0-4A04F8208545}" dt="2021-10-18T15:27:42.787" v="4059" actId="478"/>
          <ac:spMkLst>
            <pc:docMk/>
            <pc:sldMk cId="3873671275" sldId="2146847008"/>
            <ac:spMk id="44" creationId="{BAAB01BB-1A36-4887-9BA4-EA88AFA174C6}"/>
          </ac:spMkLst>
        </pc:spChg>
        <pc:spChg chg="del mod">
          <ac:chgData name="Toledo, Elena" userId="eded0357-d104-46c3-9338-e6270a8bf591" providerId="ADAL" clId="{BE3B60D5-DA9A-444F-ADB0-4A04F8208545}" dt="2021-10-18T15:27:42.787" v="4059" actId="478"/>
          <ac:spMkLst>
            <pc:docMk/>
            <pc:sldMk cId="3873671275" sldId="2146847008"/>
            <ac:spMk id="45" creationId="{2CDBF9DC-3716-4CB1-9583-86E89C48226D}"/>
          </ac:spMkLst>
        </pc:spChg>
        <pc:spChg chg="del mod">
          <ac:chgData name="Toledo, Elena" userId="eded0357-d104-46c3-9338-e6270a8bf591" providerId="ADAL" clId="{BE3B60D5-DA9A-444F-ADB0-4A04F8208545}" dt="2021-10-18T15:27:42.787" v="4059" actId="478"/>
          <ac:spMkLst>
            <pc:docMk/>
            <pc:sldMk cId="3873671275" sldId="2146847008"/>
            <ac:spMk id="46" creationId="{38012B40-B0BF-4FB1-B315-1AF1E84F5A4A}"/>
          </ac:spMkLst>
        </pc:spChg>
        <pc:spChg chg="del mod">
          <ac:chgData name="Toledo, Elena" userId="eded0357-d104-46c3-9338-e6270a8bf591" providerId="ADAL" clId="{BE3B60D5-DA9A-444F-ADB0-4A04F8208545}" dt="2021-10-18T15:26:20.569" v="3917" actId="478"/>
          <ac:spMkLst>
            <pc:docMk/>
            <pc:sldMk cId="3873671275" sldId="2146847008"/>
            <ac:spMk id="51" creationId="{C8F965E4-C46B-40E5-934E-AACE00FCDF28}"/>
          </ac:spMkLst>
        </pc:spChg>
        <pc:spChg chg="add mod">
          <ac:chgData name="Toledo, Elena" userId="eded0357-d104-46c3-9338-e6270a8bf591" providerId="ADAL" clId="{BE3B60D5-DA9A-444F-ADB0-4A04F8208545}" dt="2021-10-18T15:30:04.671" v="4163" actId="1037"/>
          <ac:spMkLst>
            <pc:docMk/>
            <pc:sldMk cId="3873671275" sldId="2146847008"/>
            <ac:spMk id="52" creationId="{93B6B821-0FEA-4DD7-A7DC-710927627166}"/>
          </ac:spMkLst>
        </pc:spChg>
        <pc:spChg chg="del">
          <ac:chgData name="Toledo, Elena" userId="eded0357-d104-46c3-9338-e6270a8bf591" providerId="ADAL" clId="{BE3B60D5-DA9A-444F-ADB0-4A04F8208545}" dt="2021-10-15T19:07:49.927" v="2614" actId="478"/>
          <ac:spMkLst>
            <pc:docMk/>
            <pc:sldMk cId="3873671275" sldId="2146847008"/>
            <ac:spMk id="52" creationId="{DD340258-1989-4BE5-AAD4-0FE30AFB94EF}"/>
          </ac:spMkLst>
        </pc:spChg>
        <pc:spChg chg="del">
          <ac:chgData name="Toledo, Elena" userId="eded0357-d104-46c3-9338-e6270a8bf591" providerId="ADAL" clId="{BE3B60D5-DA9A-444F-ADB0-4A04F8208545}" dt="2021-10-15T19:07:48.105" v="2612" actId="478"/>
          <ac:spMkLst>
            <pc:docMk/>
            <pc:sldMk cId="3873671275" sldId="2146847008"/>
            <ac:spMk id="53" creationId="{E6736071-639E-4B32-B36D-A16BE28B205A}"/>
          </ac:spMkLst>
        </pc:spChg>
        <pc:spChg chg="add mod">
          <ac:chgData name="Toledo, Elena" userId="eded0357-d104-46c3-9338-e6270a8bf591" providerId="ADAL" clId="{BE3B60D5-DA9A-444F-ADB0-4A04F8208545}" dt="2021-10-18T15:30:04.671" v="4163" actId="1037"/>
          <ac:spMkLst>
            <pc:docMk/>
            <pc:sldMk cId="3873671275" sldId="2146847008"/>
            <ac:spMk id="53" creationId="{FB878AF7-3AD8-4D45-9EFB-7E8CC78BA214}"/>
          </ac:spMkLst>
        </pc:spChg>
        <pc:spChg chg="del">
          <ac:chgData name="Toledo, Elena" userId="eded0357-d104-46c3-9338-e6270a8bf591" providerId="ADAL" clId="{BE3B60D5-DA9A-444F-ADB0-4A04F8208545}" dt="2021-10-15T19:07:50.811" v="2615" actId="478"/>
          <ac:spMkLst>
            <pc:docMk/>
            <pc:sldMk cId="3873671275" sldId="2146847008"/>
            <ac:spMk id="55" creationId="{FBF08FD3-136E-4631-95FC-EC60E3ECBEF8}"/>
          </ac:spMkLst>
        </pc:spChg>
        <pc:spChg chg="del">
          <ac:chgData name="Toledo, Elena" userId="eded0357-d104-46c3-9338-e6270a8bf591" providerId="ADAL" clId="{BE3B60D5-DA9A-444F-ADB0-4A04F8208545}" dt="2021-10-15T19:07:49.110" v="2613" actId="478"/>
          <ac:spMkLst>
            <pc:docMk/>
            <pc:sldMk cId="3873671275" sldId="2146847008"/>
            <ac:spMk id="56" creationId="{2ED67BD3-75FF-4DD3-BB95-8F23488ED936}"/>
          </ac:spMkLst>
        </pc:spChg>
        <pc:cxnChg chg="add mod">
          <ac:chgData name="Toledo, Elena" userId="eded0357-d104-46c3-9338-e6270a8bf591" providerId="ADAL" clId="{BE3B60D5-DA9A-444F-ADB0-4A04F8208545}" dt="2021-10-18T15:27:55.159" v="4063"/>
          <ac:cxnSpMkLst>
            <pc:docMk/>
            <pc:sldMk cId="3873671275" sldId="2146847008"/>
            <ac:cxnSpMk id="31" creationId="{94847D5C-D084-43BA-9002-DDF933DA0CE3}"/>
          </ac:cxnSpMkLst>
        </pc:cxnChg>
        <pc:cxnChg chg="add mod">
          <ac:chgData name="Toledo, Elena" userId="eded0357-d104-46c3-9338-e6270a8bf591" providerId="ADAL" clId="{BE3B60D5-DA9A-444F-ADB0-4A04F8208545}" dt="2021-10-18T15:27:55.159" v="4063"/>
          <ac:cxnSpMkLst>
            <pc:docMk/>
            <pc:sldMk cId="3873671275" sldId="2146847008"/>
            <ac:cxnSpMk id="33" creationId="{AC1C7593-F770-46A2-AAE9-FBFA15E2E29F}"/>
          </ac:cxnSpMkLst>
        </pc:cxnChg>
        <pc:cxnChg chg="del mod">
          <ac:chgData name="Toledo, Elena" userId="eded0357-d104-46c3-9338-e6270a8bf591" providerId="ADAL" clId="{BE3B60D5-DA9A-444F-ADB0-4A04F8208545}" dt="2021-10-18T15:27:45.719" v="4062" actId="478"/>
          <ac:cxnSpMkLst>
            <pc:docMk/>
            <pc:sldMk cId="3873671275" sldId="2146847008"/>
            <ac:cxnSpMk id="38" creationId="{82653661-FA00-455E-AC19-DCF889BD08A5}"/>
          </ac:cxnSpMkLst>
        </pc:cxnChg>
        <pc:cxnChg chg="del mod">
          <ac:chgData name="Toledo, Elena" userId="eded0357-d104-46c3-9338-e6270a8bf591" providerId="ADAL" clId="{BE3B60D5-DA9A-444F-ADB0-4A04F8208545}" dt="2021-10-18T15:27:43.860" v="4060" actId="478"/>
          <ac:cxnSpMkLst>
            <pc:docMk/>
            <pc:sldMk cId="3873671275" sldId="2146847008"/>
            <ac:cxnSpMk id="47" creationId="{F50520C6-57BD-40D7-AA50-58556C5420E4}"/>
          </ac:cxnSpMkLst>
        </pc:cxnChg>
        <pc:cxnChg chg="add mod">
          <ac:chgData name="Toledo, Elena" userId="eded0357-d104-46c3-9338-e6270a8bf591" providerId="ADAL" clId="{BE3B60D5-DA9A-444F-ADB0-4A04F8208545}" dt="2021-10-18T15:27:55.159" v="4063"/>
          <ac:cxnSpMkLst>
            <pc:docMk/>
            <pc:sldMk cId="3873671275" sldId="2146847008"/>
            <ac:cxnSpMk id="49" creationId="{B5648878-0CED-43AD-AB16-55A290B93C38}"/>
          </ac:cxnSpMkLst>
        </pc:cxnChg>
        <pc:cxnChg chg="del mod">
          <ac:chgData name="Toledo, Elena" userId="eded0357-d104-46c3-9338-e6270a8bf591" providerId="ADAL" clId="{BE3B60D5-DA9A-444F-ADB0-4A04F8208545}" dt="2021-10-18T15:27:44.928" v="4061" actId="478"/>
          <ac:cxnSpMkLst>
            <pc:docMk/>
            <pc:sldMk cId="3873671275" sldId="2146847008"/>
            <ac:cxnSpMk id="50" creationId="{97F1DBDD-2142-4F0F-B514-8ECC73A6614B}"/>
          </ac:cxnSpMkLst>
        </pc:cxnChg>
      </pc:sldChg>
      <pc:sldChg chg="add del">
        <pc:chgData name="Toledo, Elena" userId="eded0357-d104-46c3-9338-e6270a8bf591" providerId="ADAL" clId="{BE3B60D5-DA9A-444F-ADB0-4A04F8208545}" dt="2021-10-15T18:55:12.501" v="2252" actId="47"/>
        <pc:sldMkLst>
          <pc:docMk/>
          <pc:sldMk cId="944301092" sldId="2146847009"/>
        </pc:sldMkLst>
      </pc:sldChg>
      <pc:sldChg chg="addSp delSp modSp add mod ord">
        <pc:chgData name="Toledo, Elena" userId="eded0357-d104-46c3-9338-e6270a8bf591" providerId="ADAL" clId="{BE3B60D5-DA9A-444F-ADB0-4A04F8208545}" dt="2021-10-20T13:06:20.920" v="6611" actId="20577"/>
        <pc:sldMkLst>
          <pc:docMk/>
          <pc:sldMk cId="808897663" sldId="2146847010"/>
        </pc:sldMkLst>
        <pc:spChg chg="mod">
          <ac:chgData name="Toledo, Elena" userId="eded0357-d104-46c3-9338-e6270a8bf591" providerId="ADAL" clId="{BE3B60D5-DA9A-444F-ADB0-4A04F8208545}" dt="2021-10-20T12:56:54.518" v="6106" actId="313"/>
          <ac:spMkLst>
            <pc:docMk/>
            <pc:sldMk cId="808897663" sldId="2146847010"/>
            <ac:spMk id="15" creationId="{42AD3635-6B1E-4D90-B610-6361BEFB04EA}"/>
          </ac:spMkLst>
        </pc:spChg>
        <pc:spChg chg="add del mod">
          <ac:chgData name="Toledo, Elena" userId="eded0357-d104-46c3-9338-e6270a8bf591" providerId="ADAL" clId="{BE3B60D5-DA9A-444F-ADB0-4A04F8208545}" dt="2021-10-20T12:52:05.166" v="5912" actId="6549"/>
          <ac:spMkLst>
            <pc:docMk/>
            <pc:sldMk cId="808897663" sldId="2146847010"/>
            <ac:spMk id="17" creationId="{6A8298CC-5E2E-4BAA-82D5-43D06129DD3C}"/>
          </ac:spMkLst>
        </pc:spChg>
        <pc:spChg chg="mod">
          <ac:chgData name="Toledo, Elena" userId="eded0357-d104-46c3-9338-e6270a8bf591" providerId="ADAL" clId="{BE3B60D5-DA9A-444F-ADB0-4A04F8208545}" dt="2021-10-20T13:06:20.920" v="6611" actId="20577"/>
          <ac:spMkLst>
            <pc:docMk/>
            <pc:sldMk cId="808897663" sldId="2146847010"/>
            <ac:spMk id="22" creationId="{26504CF4-20F7-4B5D-ABF7-AF170C5E95F0}"/>
          </ac:spMkLst>
        </pc:spChg>
        <pc:spChg chg="add del mod">
          <ac:chgData name="Toledo, Elena" userId="eded0357-d104-46c3-9338-e6270a8bf591" providerId="ADAL" clId="{BE3B60D5-DA9A-444F-ADB0-4A04F8208545}" dt="2021-10-19T14:28:24.611" v="4904" actId="478"/>
          <ac:spMkLst>
            <pc:docMk/>
            <pc:sldMk cId="808897663" sldId="2146847010"/>
            <ac:spMk id="31" creationId="{171A72CD-F8D2-45B7-9107-935012CBD934}"/>
          </ac:spMkLst>
        </pc:spChg>
        <pc:spChg chg="add mod">
          <ac:chgData name="Toledo, Elena" userId="eded0357-d104-46c3-9338-e6270a8bf591" providerId="ADAL" clId="{BE3B60D5-DA9A-444F-ADB0-4A04F8208545}" dt="2021-10-20T12:55:52.012" v="6033" actId="208"/>
          <ac:spMkLst>
            <pc:docMk/>
            <pc:sldMk cId="808897663" sldId="2146847010"/>
            <ac:spMk id="33" creationId="{C9DFFF16-BC14-4E4C-A96A-EF3005940309}"/>
          </ac:spMkLst>
        </pc:spChg>
        <pc:spChg chg="add mod">
          <ac:chgData name="Toledo, Elena" userId="eded0357-d104-46c3-9338-e6270a8bf591" providerId="ADAL" clId="{BE3B60D5-DA9A-444F-ADB0-4A04F8208545}" dt="2021-10-20T12:55:52.012" v="6033" actId="208"/>
          <ac:spMkLst>
            <pc:docMk/>
            <pc:sldMk cId="808897663" sldId="2146847010"/>
            <ac:spMk id="34" creationId="{BD5F738F-5A79-44EB-8C28-5572173444C0}"/>
          </ac:spMkLst>
        </pc:spChg>
        <pc:spChg chg="add mod">
          <ac:chgData name="Toledo, Elena" userId="eded0357-d104-46c3-9338-e6270a8bf591" providerId="ADAL" clId="{BE3B60D5-DA9A-444F-ADB0-4A04F8208545}" dt="2021-10-20T12:55:52.012" v="6033" actId="208"/>
          <ac:spMkLst>
            <pc:docMk/>
            <pc:sldMk cId="808897663" sldId="2146847010"/>
            <ac:spMk id="35" creationId="{DAA2A2F2-67C0-4BBF-BAC9-C8B418C04E10}"/>
          </ac:spMkLst>
        </pc:spChg>
        <pc:spChg chg="mod">
          <ac:chgData name="Toledo, Elena" userId="eded0357-d104-46c3-9338-e6270a8bf591" providerId="ADAL" clId="{BE3B60D5-DA9A-444F-ADB0-4A04F8208545}" dt="2021-10-15T18:53:01.340" v="2216" actId="20577"/>
          <ac:spMkLst>
            <pc:docMk/>
            <pc:sldMk cId="808897663" sldId="2146847010"/>
            <ac:spMk id="36" creationId="{7EB8E24B-452C-487B-B03F-2D570E305C2D}"/>
          </ac:spMkLst>
        </pc:spChg>
        <pc:spChg chg="del">
          <ac:chgData name="Toledo, Elena" userId="eded0357-d104-46c3-9338-e6270a8bf591" providerId="ADAL" clId="{BE3B60D5-DA9A-444F-ADB0-4A04F8208545}" dt="2021-10-19T14:39:10.743" v="5506" actId="478"/>
          <ac:spMkLst>
            <pc:docMk/>
            <pc:sldMk cId="808897663" sldId="2146847010"/>
            <ac:spMk id="37" creationId="{6A2CD731-851B-4170-828B-5DDD01CFD185}"/>
          </ac:spMkLst>
        </pc:spChg>
        <pc:spChg chg="del">
          <ac:chgData name="Toledo, Elena" userId="eded0357-d104-46c3-9338-e6270a8bf591" providerId="ADAL" clId="{BE3B60D5-DA9A-444F-ADB0-4A04F8208545}" dt="2021-10-19T14:34:13.875" v="5257" actId="478"/>
          <ac:spMkLst>
            <pc:docMk/>
            <pc:sldMk cId="808897663" sldId="2146847010"/>
            <ac:spMk id="39" creationId="{FC8B88BA-6625-4DD9-BD92-00790E085F10}"/>
          </ac:spMkLst>
        </pc:spChg>
        <pc:spChg chg="add mod">
          <ac:chgData name="Toledo, Elena" userId="eded0357-d104-46c3-9338-e6270a8bf591" providerId="ADAL" clId="{BE3B60D5-DA9A-444F-ADB0-4A04F8208545}" dt="2021-10-20T12:55:52.012" v="6033" actId="208"/>
          <ac:spMkLst>
            <pc:docMk/>
            <pc:sldMk cId="808897663" sldId="2146847010"/>
            <ac:spMk id="40" creationId="{B0B2C13F-F096-46B1-AA15-C1B127EAE058}"/>
          </ac:spMkLst>
        </pc:spChg>
        <pc:spChg chg="mod">
          <ac:chgData name="Toledo, Elena" userId="eded0357-d104-46c3-9338-e6270a8bf591" providerId="ADAL" clId="{BE3B60D5-DA9A-444F-ADB0-4A04F8208545}" dt="2021-10-19T19:48:01.466" v="5782" actId="948"/>
          <ac:spMkLst>
            <pc:docMk/>
            <pc:sldMk cId="808897663" sldId="2146847010"/>
            <ac:spMk id="41" creationId="{59EA9267-942B-4D68-9FA9-49087C4A5F12}"/>
          </ac:spMkLst>
        </pc:spChg>
        <pc:spChg chg="mod">
          <ac:chgData name="Toledo, Elena" userId="eded0357-d104-46c3-9338-e6270a8bf591" providerId="ADAL" clId="{BE3B60D5-DA9A-444F-ADB0-4A04F8208545}" dt="2021-10-20T12:56:31.351" v="6080" actId="20577"/>
          <ac:spMkLst>
            <pc:docMk/>
            <pc:sldMk cId="808897663" sldId="2146847010"/>
            <ac:spMk id="42" creationId="{A327B052-FFDA-4917-A229-F34C2748DFC6}"/>
          </ac:spMkLst>
        </pc:spChg>
        <pc:spChg chg="add del mod">
          <ac:chgData name="Toledo, Elena" userId="eded0357-d104-46c3-9338-e6270a8bf591" providerId="ADAL" clId="{BE3B60D5-DA9A-444F-ADB0-4A04F8208545}" dt="2021-10-19T15:10:59.545" v="5621" actId="478"/>
          <ac:spMkLst>
            <pc:docMk/>
            <pc:sldMk cId="808897663" sldId="2146847010"/>
            <ac:spMk id="43" creationId="{0B8A5777-8F15-4CC1-90C1-E884980CFB54}"/>
          </ac:spMkLst>
        </pc:spChg>
        <pc:spChg chg="del">
          <ac:chgData name="Toledo, Elena" userId="eded0357-d104-46c3-9338-e6270a8bf591" providerId="ADAL" clId="{BE3B60D5-DA9A-444F-ADB0-4A04F8208545}" dt="2021-10-19T14:34:15.937" v="5258" actId="478"/>
          <ac:spMkLst>
            <pc:docMk/>
            <pc:sldMk cId="808897663" sldId="2146847010"/>
            <ac:spMk id="44" creationId="{BAAB01BB-1A36-4887-9BA4-EA88AFA174C6}"/>
          </ac:spMkLst>
        </pc:spChg>
        <pc:spChg chg="del">
          <ac:chgData name="Toledo, Elena" userId="eded0357-d104-46c3-9338-e6270a8bf591" providerId="ADAL" clId="{BE3B60D5-DA9A-444F-ADB0-4A04F8208545}" dt="2021-10-19T14:39:09.390" v="5504" actId="478"/>
          <ac:spMkLst>
            <pc:docMk/>
            <pc:sldMk cId="808897663" sldId="2146847010"/>
            <ac:spMk id="45" creationId="{2CDBF9DC-3716-4CB1-9583-86E89C48226D}"/>
          </ac:spMkLst>
        </pc:spChg>
        <pc:spChg chg="del">
          <ac:chgData name="Toledo, Elena" userId="eded0357-d104-46c3-9338-e6270a8bf591" providerId="ADAL" clId="{BE3B60D5-DA9A-444F-ADB0-4A04F8208545}" dt="2021-10-19T14:39:10.094" v="5505" actId="478"/>
          <ac:spMkLst>
            <pc:docMk/>
            <pc:sldMk cId="808897663" sldId="2146847010"/>
            <ac:spMk id="46" creationId="{38012B40-B0BF-4FB1-B315-1AF1E84F5A4A}"/>
          </ac:spMkLst>
        </pc:spChg>
        <pc:spChg chg="add mod">
          <ac:chgData name="Toledo, Elena" userId="eded0357-d104-46c3-9338-e6270a8bf591" providerId="ADAL" clId="{BE3B60D5-DA9A-444F-ADB0-4A04F8208545}" dt="2021-10-20T12:55:52.012" v="6033" actId="208"/>
          <ac:spMkLst>
            <pc:docMk/>
            <pc:sldMk cId="808897663" sldId="2146847010"/>
            <ac:spMk id="49" creationId="{A046534F-DA0F-48AC-93A7-E4981E249700}"/>
          </ac:spMkLst>
        </pc:spChg>
        <pc:spChg chg="mod">
          <ac:chgData name="Toledo, Elena" userId="eded0357-d104-46c3-9338-e6270a8bf591" providerId="ADAL" clId="{BE3B60D5-DA9A-444F-ADB0-4A04F8208545}" dt="2021-10-20T12:56:25.947" v="6077" actId="20577"/>
          <ac:spMkLst>
            <pc:docMk/>
            <pc:sldMk cId="808897663" sldId="2146847010"/>
            <ac:spMk id="51" creationId="{C8F965E4-C46B-40E5-934E-AACE00FCDF28}"/>
          </ac:spMkLst>
        </pc:spChg>
        <pc:spChg chg="del">
          <ac:chgData name="Toledo, Elena" userId="eded0357-d104-46c3-9338-e6270a8bf591" providerId="ADAL" clId="{BE3B60D5-DA9A-444F-ADB0-4A04F8208545}" dt="2021-10-19T14:36:40.897" v="5490" actId="478"/>
          <ac:spMkLst>
            <pc:docMk/>
            <pc:sldMk cId="808897663" sldId="2146847010"/>
            <ac:spMk id="52" creationId="{DD340258-1989-4BE5-AAD4-0FE30AFB94EF}"/>
          </ac:spMkLst>
        </pc:spChg>
        <pc:spChg chg="del">
          <ac:chgData name="Toledo, Elena" userId="eded0357-d104-46c3-9338-e6270a8bf591" providerId="ADAL" clId="{BE3B60D5-DA9A-444F-ADB0-4A04F8208545}" dt="2021-10-19T14:36:39.856" v="5489" actId="478"/>
          <ac:spMkLst>
            <pc:docMk/>
            <pc:sldMk cId="808897663" sldId="2146847010"/>
            <ac:spMk id="53" creationId="{E6736071-639E-4B32-B36D-A16BE28B205A}"/>
          </ac:spMkLst>
        </pc:spChg>
        <pc:spChg chg="del">
          <ac:chgData name="Toledo, Elena" userId="eded0357-d104-46c3-9338-e6270a8bf591" providerId="ADAL" clId="{BE3B60D5-DA9A-444F-ADB0-4A04F8208545}" dt="2021-10-19T14:36:38.804" v="5488" actId="478"/>
          <ac:spMkLst>
            <pc:docMk/>
            <pc:sldMk cId="808897663" sldId="2146847010"/>
            <ac:spMk id="55" creationId="{FBF08FD3-136E-4631-95FC-EC60E3ECBEF8}"/>
          </ac:spMkLst>
        </pc:spChg>
        <pc:spChg chg="del">
          <ac:chgData name="Toledo, Elena" userId="eded0357-d104-46c3-9338-e6270a8bf591" providerId="ADAL" clId="{BE3B60D5-DA9A-444F-ADB0-4A04F8208545}" dt="2021-10-19T14:36:37.634" v="5487" actId="478"/>
          <ac:spMkLst>
            <pc:docMk/>
            <pc:sldMk cId="808897663" sldId="2146847010"/>
            <ac:spMk id="56" creationId="{2ED67BD3-75FF-4DD3-BB95-8F23488ED936}"/>
          </ac:spMkLst>
        </pc:spChg>
        <pc:spChg chg="add mod">
          <ac:chgData name="Toledo, Elena" userId="eded0357-d104-46c3-9338-e6270a8bf591" providerId="ADAL" clId="{BE3B60D5-DA9A-444F-ADB0-4A04F8208545}" dt="2021-10-20T12:55:52.012" v="6033" actId="208"/>
          <ac:spMkLst>
            <pc:docMk/>
            <pc:sldMk cId="808897663" sldId="2146847010"/>
            <ac:spMk id="57" creationId="{30BE5882-6969-44A9-8F6E-359DE672D85D}"/>
          </ac:spMkLst>
        </pc:spChg>
        <pc:spChg chg="add mod">
          <ac:chgData name="Toledo, Elena" userId="eded0357-d104-46c3-9338-e6270a8bf591" providerId="ADAL" clId="{BE3B60D5-DA9A-444F-ADB0-4A04F8208545}" dt="2021-10-20T12:55:38.528" v="6031"/>
          <ac:spMkLst>
            <pc:docMk/>
            <pc:sldMk cId="808897663" sldId="2146847010"/>
            <ac:spMk id="65" creationId="{798FC8A3-88A7-4749-A0C2-C7ECC20B50FE}"/>
          </ac:spMkLst>
        </pc:spChg>
        <pc:spChg chg="add mod">
          <ac:chgData name="Toledo, Elena" userId="eded0357-d104-46c3-9338-e6270a8bf591" providerId="ADAL" clId="{BE3B60D5-DA9A-444F-ADB0-4A04F8208545}" dt="2021-10-20T12:55:38.528" v="6031"/>
          <ac:spMkLst>
            <pc:docMk/>
            <pc:sldMk cId="808897663" sldId="2146847010"/>
            <ac:spMk id="66" creationId="{72838481-87C3-4AD0-81A3-8DA295F569CB}"/>
          </ac:spMkLst>
        </pc:spChg>
        <pc:graphicFrameChg chg="add mod modGraphic">
          <ac:chgData name="Toledo, Elena" userId="eded0357-d104-46c3-9338-e6270a8bf591" providerId="ADAL" clId="{BE3B60D5-DA9A-444F-ADB0-4A04F8208545}" dt="2021-10-20T12:56:59.575" v="6107" actId="6549"/>
          <ac:graphicFrameMkLst>
            <pc:docMk/>
            <pc:sldMk cId="808897663" sldId="2146847010"/>
            <ac:graphicFrameMk id="21" creationId="{83440AF4-9DDF-4E72-9D8D-81F56D713CFD}"/>
          </ac:graphicFrameMkLst>
        </pc:graphicFrameChg>
        <pc:graphicFrameChg chg="add del mod">
          <ac:chgData name="Toledo, Elena" userId="eded0357-d104-46c3-9338-e6270a8bf591" providerId="ADAL" clId="{BE3B60D5-DA9A-444F-ADB0-4A04F8208545}" dt="2021-10-20T12:51:27.914" v="5887"/>
          <ac:graphicFrameMkLst>
            <pc:docMk/>
            <pc:sldMk cId="808897663" sldId="2146847010"/>
            <ac:graphicFrameMk id="64" creationId="{4935CBDB-8C57-49C6-A2EC-7C2C5EB4F9A2}"/>
          </ac:graphicFrameMkLst>
        </pc:graphicFrameChg>
        <pc:cxnChg chg="add mod">
          <ac:chgData name="Toledo, Elena" userId="eded0357-d104-46c3-9338-e6270a8bf591" providerId="ADAL" clId="{BE3B60D5-DA9A-444F-ADB0-4A04F8208545}" dt="2021-10-19T15:12:44.115" v="5658" actId="1037"/>
          <ac:cxnSpMkLst>
            <pc:docMk/>
            <pc:sldMk cId="808897663" sldId="2146847010"/>
            <ac:cxnSpMk id="4" creationId="{844FD51E-0DBE-4E6F-BEA2-82C9FD0FEA71}"/>
          </ac:cxnSpMkLst>
        </pc:cxnChg>
        <pc:cxnChg chg="del mod">
          <ac:chgData name="Toledo, Elena" userId="eded0357-d104-46c3-9338-e6270a8bf591" providerId="ADAL" clId="{BE3B60D5-DA9A-444F-ADB0-4A04F8208545}" dt="2021-10-19T14:39:12.279" v="5508" actId="478"/>
          <ac:cxnSpMkLst>
            <pc:docMk/>
            <pc:sldMk cId="808897663" sldId="2146847010"/>
            <ac:cxnSpMk id="38" creationId="{82653661-FA00-455E-AC19-DCF889BD08A5}"/>
          </ac:cxnSpMkLst>
        </pc:cxnChg>
        <pc:cxnChg chg="del mod">
          <ac:chgData name="Toledo, Elena" userId="eded0357-d104-46c3-9338-e6270a8bf591" providerId="ADAL" clId="{BE3B60D5-DA9A-444F-ADB0-4A04F8208545}" dt="2021-10-19T14:36:33.166" v="5486" actId="478"/>
          <ac:cxnSpMkLst>
            <pc:docMk/>
            <pc:sldMk cId="808897663" sldId="2146847010"/>
            <ac:cxnSpMk id="47" creationId="{F50520C6-57BD-40D7-AA50-58556C5420E4}"/>
          </ac:cxnSpMkLst>
        </pc:cxnChg>
        <pc:cxnChg chg="del mod">
          <ac:chgData name="Toledo, Elena" userId="eded0357-d104-46c3-9338-e6270a8bf591" providerId="ADAL" clId="{BE3B60D5-DA9A-444F-ADB0-4A04F8208545}" dt="2021-10-19T14:39:11.399" v="5507" actId="478"/>
          <ac:cxnSpMkLst>
            <pc:docMk/>
            <pc:sldMk cId="808897663" sldId="2146847010"/>
            <ac:cxnSpMk id="50" creationId="{97F1DBDD-2142-4F0F-B514-8ECC73A6614B}"/>
          </ac:cxnSpMkLst>
        </pc:cxnChg>
        <pc:cxnChg chg="add mod">
          <ac:chgData name="Toledo, Elena" userId="eded0357-d104-46c3-9338-e6270a8bf591" providerId="ADAL" clId="{BE3B60D5-DA9A-444F-ADB0-4A04F8208545}" dt="2021-10-19T15:12:51.321" v="5661" actId="14100"/>
          <ac:cxnSpMkLst>
            <pc:docMk/>
            <pc:sldMk cId="808897663" sldId="2146847010"/>
            <ac:cxnSpMk id="58" creationId="{9C0E8F83-4244-434F-B20C-32DA5AFC9F27}"/>
          </ac:cxnSpMkLst>
        </pc:cxnChg>
        <pc:cxnChg chg="add mod">
          <ac:chgData name="Toledo, Elena" userId="eded0357-d104-46c3-9338-e6270a8bf591" providerId="ADAL" clId="{BE3B60D5-DA9A-444F-ADB0-4A04F8208545}" dt="2021-10-19T15:12:57.343" v="5665" actId="14100"/>
          <ac:cxnSpMkLst>
            <pc:docMk/>
            <pc:sldMk cId="808897663" sldId="2146847010"/>
            <ac:cxnSpMk id="59" creationId="{B50B6AB6-0097-462B-A870-AC22D1031350}"/>
          </ac:cxnSpMkLst>
        </pc:cxnChg>
        <pc:cxnChg chg="add mod">
          <ac:chgData name="Toledo, Elena" userId="eded0357-d104-46c3-9338-e6270a8bf591" providerId="ADAL" clId="{BE3B60D5-DA9A-444F-ADB0-4A04F8208545}" dt="2021-10-19T18:21:24.711" v="5668" actId="14100"/>
          <ac:cxnSpMkLst>
            <pc:docMk/>
            <pc:sldMk cId="808897663" sldId="2146847010"/>
            <ac:cxnSpMk id="60" creationId="{5AE59D43-AECE-4EA2-864B-24816E355C1E}"/>
          </ac:cxnSpMkLst>
        </pc:cxnChg>
        <pc:cxnChg chg="add del mod">
          <ac:chgData name="Toledo, Elena" userId="eded0357-d104-46c3-9338-e6270a8bf591" providerId="ADAL" clId="{BE3B60D5-DA9A-444F-ADB0-4A04F8208545}" dt="2021-10-19T18:21:32.682" v="5670" actId="478"/>
          <ac:cxnSpMkLst>
            <pc:docMk/>
            <pc:sldMk cId="808897663" sldId="2146847010"/>
            <ac:cxnSpMk id="61" creationId="{962058C7-24DE-4320-A7BE-F75B9B7846C6}"/>
          </ac:cxnSpMkLst>
        </pc:cxnChg>
        <pc:cxnChg chg="add del mod">
          <ac:chgData name="Toledo, Elena" userId="eded0357-d104-46c3-9338-e6270a8bf591" providerId="ADAL" clId="{BE3B60D5-DA9A-444F-ADB0-4A04F8208545}" dt="2021-10-19T18:21:51.038" v="5672"/>
          <ac:cxnSpMkLst>
            <pc:docMk/>
            <pc:sldMk cId="808897663" sldId="2146847010"/>
            <ac:cxnSpMk id="62" creationId="{0F822788-9540-412F-BFDB-7EA03261C6AD}"/>
          </ac:cxnSpMkLst>
        </pc:cxnChg>
        <pc:cxnChg chg="add mod">
          <ac:chgData name="Toledo, Elena" userId="eded0357-d104-46c3-9338-e6270a8bf591" providerId="ADAL" clId="{BE3B60D5-DA9A-444F-ADB0-4A04F8208545}" dt="2021-10-19T18:22:03.667" v="5675" actId="14100"/>
          <ac:cxnSpMkLst>
            <pc:docMk/>
            <pc:sldMk cId="808897663" sldId="2146847010"/>
            <ac:cxnSpMk id="63" creationId="{B74A0AC2-25E3-4CBE-9A0B-CBC2892036F8}"/>
          </ac:cxnSpMkLst>
        </pc:cxnChg>
      </pc:sldChg>
      <pc:sldChg chg="addSp modSp add mod ord">
        <pc:chgData name="Toledo, Elena" userId="eded0357-d104-46c3-9338-e6270a8bf591" providerId="ADAL" clId="{BE3B60D5-DA9A-444F-ADB0-4A04F8208545}" dt="2021-10-18T19:27:33.664" v="4902" actId="20577"/>
        <pc:sldMkLst>
          <pc:docMk/>
          <pc:sldMk cId="1793120301" sldId="2146847011"/>
        </pc:sldMkLst>
        <pc:spChg chg="add mod">
          <ac:chgData name="Toledo, Elena" userId="eded0357-d104-46c3-9338-e6270a8bf591" providerId="ADAL" clId="{BE3B60D5-DA9A-444F-ADB0-4A04F8208545}" dt="2021-10-18T19:27:33.664" v="4902" actId="20577"/>
          <ac:spMkLst>
            <pc:docMk/>
            <pc:sldMk cId="1793120301" sldId="2146847011"/>
            <ac:spMk id="31" creationId="{E40FEB7D-634E-4509-A169-9417C32CA713}"/>
          </ac:spMkLst>
        </pc:spChg>
        <pc:spChg chg="mod">
          <ac:chgData name="Toledo, Elena" userId="eded0357-d104-46c3-9338-e6270a8bf591" providerId="ADAL" clId="{BE3B60D5-DA9A-444F-ADB0-4A04F8208545}" dt="2021-10-18T15:32:01.301" v="4173" actId="20577"/>
          <ac:spMkLst>
            <pc:docMk/>
            <pc:sldMk cId="1793120301" sldId="2146847011"/>
            <ac:spMk id="36" creationId="{7EB8E24B-452C-487B-B03F-2D570E305C2D}"/>
          </ac:spMkLst>
        </pc:spChg>
      </pc:sldChg>
      <pc:sldChg chg="addSp delSp modSp add mod ord">
        <pc:chgData name="Toledo, Elena" userId="eded0357-d104-46c3-9338-e6270a8bf591" providerId="ADAL" clId="{BE3B60D5-DA9A-444F-ADB0-4A04F8208545}" dt="2021-10-20T14:00:42.047" v="7907" actId="6549"/>
        <pc:sldMkLst>
          <pc:docMk/>
          <pc:sldMk cId="1200291541" sldId="2146847012"/>
        </pc:sldMkLst>
        <pc:spChg chg="add del mod">
          <ac:chgData name="Toledo, Elena" userId="eded0357-d104-46c3-9338-e6270a8bf591" providerId="ADAL" clId="{BE3B60D5-DA9A-444F-ADB0-4A04F8208545}" dt="2021-10-20T13:18:29.034" v="6680" actId="478"/>
          <ac:spMkLst>
            <pc:docMk/>
            <pc:sldMk cId="1200291541" sldId="2146847012"/>
            <ac:spMk id="2" creationId="{94898E75-878B-45E4-B71A-C96D5F95E315}"/>
          </ac:spMkLst>
        </pc:spChg>
        <pc:spChg chg="mod">
          <ac:chgData name="Toledo, Elena" userId="eded0357-d104-46c3-9338-e6270a8bf591" providerId="ADAL" clId="{BE3B60D5-DA9A-444F-ADB0-4A04F8208545}" dt="2021-10-20T13:59:51.782" v="7864" actId="20577"/>
          <ac:spMkLst>
            <pc:docMk/>
            <pc:sldMk cId="1200291541" sldId="2146847012"/>
            <ac:spMk id="15" creationId="{42AD3635-6B1E-4D90-B610-6361BEFB04EA}"/>
          </ac:spMkLst>
        </pc:spChg>
        <pc:spChg chg="mod">
          <ac:chgData name="Toledo, Elena" userId="eded0357-d104-46c3-9338-e6270a8bf591" providerId="ADAL" clId="{BE3B60D5-DA9A-444F-ADB0-4A04F8208545}" dt="2021-10-20T14:00:42.047" v="7907" actId="6549"/>
          <ac:spMkLst>
            <pc:docMk/>
            <pc:sldMk cId="1200291541" sldId="2146847012"/>
            <ac:spMk id="17" creationId="{6A8298CC-5E2E-4BAA-82D5-43D06129DD3C}"/>
          </ac:spMkLst>
        </pc:spChg>
        <pc:spChg chg="mod">
          <ac:chgData name="Toledo, Elena" userId="eded0357-d104-46c3-9338-e6270a8bf591" providerId="ADAL" clId="{BE3B60D5-DA9A-444F-ADB0-4A04F8208545}" dt="2021-10-20T14:00:32.028" v="7906" actId="6549"/>
          <ac:spMkLst>
            <pc:docMk/>
            <pc:sldMk cId="1200291541" sldId="2146847012"/>
            <ac:spMk id="22" creationId="{26504CF4-20F7-4B5D-ABF7-AF170C5E95F0}"/>
          </ac:spMkLst>
        </pc:spChg>
        <pc:spChg chg="add del mod">
          <ac:chgData name="Toledo, Elena" userId="eded0357-d104-46c3-9338-e6270a8bf591" providerId="ADAL" clId="{BE3B60D5-DA9A-444F-ADB0-4A04F8208545}" dt="2021-10-20T13:21:10.198" v="6983" actId="478"/>
          <ac:spMkLst>
            <pc:docMk/>
            <pc:sldMk cId="1200291541" sldId="2146847012"/>
            <ac:spMk id="33" creationId="{6BEECC44-1A7B-4BE6-AE88-2F1F5D39C540}"/>
          </ac:spMkLst>
        </pc:spChg>
        <pc:spChg chg="mod">
          <ac:chgData name="Toledo, Elena" userId="eded0357-d104-46c3-9338-e6270a8bf591" providerId="ADAL" clId="{BE3B60D5-DA9A-444F-ADB0-4A04F8208545}" dt="2021-10-20T13:48:48.939" v="7435" actId="14100"/>
          <ac:spMkLst>
            <pc:docMk/>
            <pc:sldMk cId="1200291541" sldId="2146847012"/>
            <ac:spMk id="36" creationId="{7EB8E24B-452C-487B-B03F-2D570E305C2D}"/>
          </ac:spMkLst>
        </pc:spChg>
        <pc:spChg chg="mod">
          <ac:chgData name="Toledo, Elena" userId="eded0357-d104-46c3-9338-e6270a8bf591" providerId="ADAL" clId="{BE3B60D5-DA9A-444F-ADB0-4A04F8208545}" dt="2021-10-20T13:59:17.471" v="7847" actId="14100"/>
          <ac:spMkLst>
            <pc:docMk/>
            <pc:sldMk cId="1200291541" sldId="2146847012"/>
            <ac:spMk id="41" creationId="{59EA9267-942B-4D68-9FA9-49087C4A5F12}"/>
          </ac:spMkLst>
        </pc:spChg>
        <pc:spChg chg="mod">
          <ac:chgData name="Toledo, Elena" userId="eded0357-d104-46c3-9338-e6270a8bf591" providerId="ADAL" clId="{BE3B60D5-DA9A-444F-ADB0-4A04F8208545}" dt="2021-10-20T14:00:02.340" v="7892" actId="20577"/>
          <ac:spMkLst>
            <pc:docMk/>
            <pc:sldMk cId="1200291541" sldId="2146847012"/>
            <ac:spMk id="42" creationId="{A327B052-FFDA-4917-A229-F34C2748DFC6}"/>
          </ac:spMkLst>
        </pc:spChg>
        <pc:spChg chg="mod">
          <ac:chgData name="Toledo, Elena" userId="eded0357-d104-46c3-9338-e6270a8bf591" providerId="ADAL" clId="{BE3B60D5-DA9A-444F-ADB0-4A04F8208545}" dt="2021-10-20T14:00:20.417" v="7903" actId="20577"/>
          <ac:spMkLst>
            <pc:docMk/>
            <pc:sldMk cId="1200291541" sldId="2146847012"/>
            <ac:spMk id="51" creationId="{C8F965E4-C46B-40E5-934E-AACE00FCDF28}"/>
          </ac:spMkLst>
        </pc:spChg>
      </pc:sldChg>
      <pc:sldChg chg="addSp delSp modSp add mod">
        <pc:chgData name="Toledo, Elena" userId="eded0357-d104-46c3-9338-e6270a8bf591" providerId="ADAL" clId="{BE3B60D5-DA9A-444F-ADB0-4A04F8208545}" dt="2021-10-20T13:01:48.398" v="6261" actId="20577"/>
        <pc:sldMkLst>
          <pc:docMk/>
          <pc:sldMk cId="3368637639" sldId="2146847013"/>
        </pc:sldMkLst>
        <pc:spChg chg="add del mod">
          <ac:chgData name="Toledo, Elena" userId="eded0357-d104-46c3-9338-e6270a8bf591" providerId="ADAL" clId="{BE3B60D5-DA9A-444F-ADB0-4A04F8208545}" dt="2021-10-18T17:25:16.310" v="4597" actId="478"/>
          <ac:spMkLst>
            <pc:docMk/>
            <pc:sldMk cId="3368637639" sldId="2146847013"/>
            <ac:spMk id="26" creationId="{A8E22D26-ACD4-46A7-94D9-7B9A032C3E29}"/>
          </ac:spMkLst>
        </pc:spChg>
        <pc:spChg chg="mod">
          <ac:chgData name="Toledo, Elena" userId="eded0357-d104-46c3-9338-e6270a8bf591" providerId="ADAL" clId="{BE3B60D5-DA9A-444F-ADB0-4A04F8208545}" dt="2021-10-20T13:01:48.398" v="6261" actId="20577"/>
          <ac:spMkLst>
            <pc:docMk/>
            <pc:sldMk cId="3368637639" sldId="2146847013"/>
            <ac:spMk id="36" creationId="{7EB8E24B-452C-487B-B03F-2D570E305C2D}"/>
          </ac:spMkLst>
        </pc:spChg>
        <pc:spChg chg="mod">
          <ac:chgData name="Toledo, Elena" userId="eded0357-d104-46c3-9338-e6270a8bf591" providerId="ADAL" clId="{BE3B60D5-DA9A-444F-ADB0-4A04F8208545}" dt="2021-10-19T14:36:23.002" v="5485" actId="113"/>
          <ac:spMkLst>
            <pc:docMk/>
            <pc:sldMk cId="3368637639" sldId="2146847013"/>
            <ac:spMk id="41" creationId="{59EA9267-942B-4D68-9FA9-49087C4A5F12}"/>
          </ac:spMkLst>
        </pc:spChg>
        <pc:spChg chg="mod">
          <ac:chgData name="Toledo, Elena" userId="eded0357-d104-46c3-9338-e6270a8bf591" providerId="ADAL" clId="{BE3B60D5-DA9A-444F-ADB0-4A04F8208545}" dt="2021-10-18T17:27:09.197" v="4706" actId="20577"/>
          <ac:spMkLst>
            <pc:docMk/>
            <pc:sldMk cId="3368637639" sldId="2146847013"/>
            <ac:spMk id="51" creationId="{C8F965E4-C46B-40E5-934E-AACE00FCDF28}"/>
          </ac:spMkLst>
        </pc:spChg>
      </pc:sldChg>
      <pc:sldChg chg="modSp add mod">
        <pc:chgData name="Toledo, Elena" userId="eded0357-d104-46c3-9338-e6270a8bf591" providerId="ADAL" clId="{BE3B60D5-DA9A-444F-ADB0-4A04F8208545}" dt="2021-10-20T14:21:23.911" v="7925" actId="20577"/>
        <pc:sldMkLst>
          <pc:docMk/>
          <pc:sldMk cId="4126357513" sldId="2146847014"/>
        </pc:sldMkLst>
        <pc:spChg chg="mod">
          <ac:chgData name="Toledo, Elena" userId="eded0357-d104-46c3-9338-e6270a8bf591" providerId="ADAL" clId="{BE3B60D5-DA9A-444F-ADB0-4A04F8208545}" dt="2021-10-20T13:07:37.996" v="6650" actId="20577"/>
          <ac:spMkLst>
            <pc:docMk/>
            <pc:sldMk cId="4126357513" sldId="2146847014"/>
            <ac:spMk id="2" creationId="{042DE544-90E0-485F-B2E7-47B454A3D07B}"/>
          </ac:spMkLst>
        </pc:spChg>
        <pc:spChg chg="mod">
          <ac:chgData name="Toledo, Elena" userId="eded0357-d104-46c3-9338-e6270a8bf591" providerId="ADAL" clId="{BE3B60D5-DA9A-444F-ADB0-4A04F8208545}" dt="2021-10-20T14:21:23.911" v="7925" actId="20577"/>
          <ac:spMkLst>
            <pc:docMk/>
            <pc:sldMk cId="4126357513" sldId="2146847014"/>
            <ac:spMk id="3" creationId="{E70D7511-F6AE-4135-8713-5FAE8197D4A0}"/>
          </ac:spMkLst>
        </pc:spChg>
      </pc:sldChg>
      <pc:sldChg chg="modSp add del mod">
        <pc:chgData name="Toledo, Elena" userId="eded0357-d104-46c3-9338-e6270a8bf591" providerId="ADAL" clId="{BE3B60D5-DA9A-444F-ADB0-4A04F8208545}" dt="2021-10-18T17:20:04.984" v="4462" actId="47"/>
        <pc:sldMkLst>
          <pc:docMk/>
          <pc:sldMk cId="1754244509" sldId="2146847015"/>
        </pc:sldMkLst>
        <pc:spChg chg="mod">
          <ac:chgData name="Toledo, Elena" userId="eded0357-d104-46c3-9338-e6270a8bf591" providerId="ADAL" clId="{BE3B60D5-DA9A-444F-ADB0-4A04F8208545}" dt="2021-10-18T15:46:03.734" v="4222" actId="208"/>
          <ac:spMkLst>
            <pc:docMk/>
            <pc:sldMk cId="1754244509" sldId="2146847015"/>
            <ac:spMk id="12" creationId="{AB7C3D6F-ADC4-43AE-A45F-7364548DC147}"/>
          </ac:spMkLst>
        </pc:spChg>
        <pc:spChg chg="mod">
          <ac:chgData name="Toledo, Elena" userId="eded0357-d104-46c3-9338-e6270a8bf591" providerId="ADAL" clId="{BE3B60D5-DA9A-444F-ADB0-4A04F8208545}" dt="2021-10-18T15:46:18.524" v="4223" actId="2085"/>
          <ac:spMkLst>
            <pc:docMk/>
            <pc:sldMk cId="1754244509" sldId="2146847015"/>
            <ac:spMk id="13" creationId="{28FA5A63-8300-46DF-927D-2A5E432F2027}"/>
          </ac:spMkLst>
        </pc:spChg>
        <pc:grpChg chg="mod">
          <ac:chgData name="Toledo, Elena" userId="eded0357-d104-46c3-9338-e6270a8bf591" providerId="ADAL" clId="{BE3B60D5-DA9A-444F-ADB0-4A04F8208545}" dt="2021-10-18T15:33:54.063" v="4216" actId="207"/>
          <ac:grpSpMkLst>
            <pc:docMk/>
            <pc:sldMk cId="1754244509" sldId="2146847015"/>
            <ac:grpSpMk id="11" creationId="{99E903BA-2B5A-4136-9254-C20261D25C54}"/>
          </ac:grpSpMkLst>
        </pc:grpChg>
      </pc:sldChg>
      <pc:sldChg chg="addSp delSp modSp add del mod">
        <pc:chgData name="Toledo, Elena" userId="eded0357-d104-46c3-9338-e6270a8bf591" providerId="ADAL" clId="{BE3B60D5-DA9A-444F-ADB0-4A04F8208545}" dt="2021-10-18T17:23:49.573" v="4502" actId="47"/>
        <pc:sldMkLst>
          <pc:docMk/>
          <pc:sldMk cId="2683335657" sldId="2146847015"/>
        </pc:sldMkLst>
        <pc:spChg chg="add del">
          <ac:chgData name="Toledo, Elena" userId="eded0357-d104-46c3-9338-e6270a8bf591" providerId="ADAL" clId="{BE3B60D5-DA9A-444F-ADB0-4A04F8208545}" dt="2021-10-18T17:21:11.846" v="4470" actId="22"/>
          <ac:spMkLst>
            <pc:docMk/>
            <pc:sldMk cId="2683335657" sldId="2146847015"/>
            <ac:spMk id="57" creationId="{9AAB86D9-A9CE-48B4-9A55-4C89A30A2ACF}"/>
          </ac:spMkLst>
        </pc:spChg>
        <pc:spChg chg="add del">
          <ac:chgData name="Toledo, Elena" userId="eded0357-d104-46c3-9338-e6270a8bf591" providerId="ADAL" clId="{BE3B60D5-DA9A-444F-ADB0-4A04F8208545}" dt="2021-10-18T17:21:13.830" v="4472" actId="478"/>
          <ac:spMkLst>
            <pc:docMk/>
            <pc:sldMk cId="2683335657" sldId="2146847015"/>
            <ac:spMk id="61" creationId="{EFCBE191-1BA8-4DD0-81E1-6FC597DA8CCB}"/>
          </ac:spMkLst>
        </pc:spChg>
        <pc:spChg chg="add mod">
          <ac:chgData name="Toledo, Elena" userId="eded0357-d104-46c3-9338-e6270a8bf591" providerId="ADAL" clId="{BE3B60D5-DA9A-444F-ADB0-4A04F8208545}" dt="2021-10-18T17:22:59.464" v="4500" actId="14100"/>
          <ac:spMkLst>
            <pc:docMk/>
            <pc:sldMk cId="2683335657" sldId="2146847015"/>
            <ac:spMk id="62" creationId="{7D8D3DCA-19DB-401A-9BBB-F3AB830FBA4F}"/>
          </ac:spMkLst>
        </pc:spChg>
        <pc:spChg chg="del">
          <ac:chgData name="Toledo, Elena" userId="eded0357-d104-46c3-9338-e6270a8bf591" providerId="ADAL" clId="{BE3B60D5-DA9A-444F-ADB0-4A04F8208545}" dt="2021-10-18T17:21:04.902" v="4464" actId="478"/>
          <ac:spMkLst>
            <pc:docMk/>
            <pc:sldMk cId="2683335657" sldId="2146847015"/>
            <ac:spMk id="63" creationId="{23064993-61B2-4002-90E2-F281B374F458}"/>
          </ac:spMkLst>
        </pc:spChg>
      </pc:sldChg>
      <pc:sldChg chg="addSp delSp modSp add mod ord">
        <pc:chgData name="Toledo, Elena" userId="eded0357-d104-46c3-9338-e6270a8bf591" providerId="ADAL" clId="{BE3B60D5-DA9A-444F-ADB0-4A04F8208545}" dt="2021-10-20T13:49:30.657" v="7439"/>
        <pc:sldMkLst>
          <pc:docMk/>
          <pc:sldMk cId="3907444405" sldId="2146847015"/>
        </pc:sldMkLst>
        <pc:spChg chg="mod">
          <ac:chgData name="Toledo, Elena" userId="eded0357-d104-46c3-9338-e6270a8bf591" providerId="ADAL" clId="{BE3B60D5-DA9A-444F-ADB0-4A04F8208545}" dt="2021-10-20T12:58:48.438" v="6210"/>
          <ac:spMkLst>
            <pc:docMk/>
            <pc:sldMk cId="3907444405" sldId="2146847015"/>
            <ac:spMk id="61" creationId="{12937D74-0A60-4C46-9AFC-580B57A4E335}"/>
          </ac:spMkLst>
        </pc:spChg>
        <pc:spChg chg="mod">
          <ac:chgData name="Toledo, Elena" userId="eded0357-d104-46c3-9338-e6270a8bf591" providerId="ADAL" clId="{BE3B60D5-DA9A-444F-ADB0-4A04F8208545}" dt="2021-10-20T12:58:48.438" v="6210"/>
          <ac:spMkLst>
            <pc:docMk/>
            <pc:sldMk cId="3907444405" sldId="2146847015"/>
            <ac:spMk id="62" creationId="{0728AAD1-423E-4F19-B2D4-F3F023E2DD49}"/>
          </ac:spMkLst>
        </pc:spChg>
        <pc:spChg chg="del mod">
          <ac:chgData name="Toledo, Elena" userId="eded0357-d104-46c3-9338-e6270a8bf591" providerId="ADAL" clId="{BE3B60D5-DA9A-444F-ADB0-4A04F8208545}" dt="2021-10-20T13:49:30.007" v="7438" actId="478"/>
          <ac:spMkLst>
            <pc:docMk/>
            <pc:sldMk cId="3907444405" sldId="2146847015"/>
            <ac:spMk id="63" creationId="{23064993-61B2-4002-90E2-F281B374F458}"/>
          </ac:spMkLst>
        </pc:spChg>
        <pc:spChg chg="mod">
          <ac:chgData name="Toledo, Elena" userId="eded0357-d104-46c3-9338-e6270a8bf591" providerId="ADAL" clId="{BE3B60D5-DA9A-444F-ADB0-4A04F8208545}" dt="2021-10-20T12:58:49.257" v="6211"/>
          <ac:spMkLst>
            <pc:docMk/>
            <pc:sldMk cId="3907444405" sldId="2146847015"/>
            <ac:spMk id="66" creationId="{9F7A2262-389D-4B1B-A29C-5ECC3C375017}"/>
          </ac:spMkLst>
        </pc:spChg>
        <pc:spChg chg="mod">
          <ac:chgData name="Toledo, Elena" userId="eded0357-d104-46c3-9338-e6270a8bf591" providerId="ADAL" clId="{BE3B60D5-DA9A-444F-ADB0-4A04F8208545}" dt="2021-10-20T12:58:49.257" v="6211"/>
          <ac:spMkLst>
            <pc:docMk/>
            <pc:sldMk cId="3907444405" sldId="2146847015"/>
            <ac:spMk id="67" creationId="{FD2254B0-FDFC-444E-9AAD-282FE97A228E}"/>
          </ac:spMkLst>
        </pc:spChg>
        <pc:spChg chg="add mod">
          <ac:chgData name="Toledo, Elena" userId="eded0357-d104-46c3-9338-e6270a8bf591" providerId="ADAL" clId="{BE3B60D5-DA9A-444F-ADB0-4A04F8208545}" dt="2021-10-20T13:07:58.609" v="6656" actId="20577"/>
          <ac:spMkLst>
            <pc:docMk/>
            <pc:sldMk cId="3907444405" sldId="2146847015"/>
            <ac:spMk id="68" creationId="{C8A90C58-178A-4666-AAE0-EFCB43305A1B}"/>
          </ac:spMkLst>
        </pc:spChg>
        <pc:spChg chg="add mod">
          <ac:chgData name="Toledo, Elena" userId="eded0357-d104-46c3-9338-e6270a8bf591" providerId="ADAL" clId="{BE3B60D5-DA9A-444F-ADB0-4A04F8208545}" dt="2021-10-20T13:49:30.657" v="7439"/>
          <ac:spMkLst>
            <pc:docMk/>
            <pc:sldMk cId="3907444405" sldId="2146847015"/>
            <ac:spMk id="69" creationId="{18E44A8D-4EFE-4E99-8CFB-75C60DC7AA47}"/>
          </ac:spMkLst>
        </pc:spChg>
        <pc:grpChg chg="mod">
          <ac:chgData name="Toledo, Elena" userId="eded0357-d104-46c3-9338-e6270a8bf591" providerId="ADAL" clId="{BE3B60D5-DA9A-444F-ADB0-4A04F8208545}" dt="2021-10-20T12:57:51.532" v="6109" actId="14100"/>
          <ac:grpSpMkLst>
            <pc:docMk/>
            <pc:sldMk cId="3907444405" sldId="2146847015"/>
            <ac:grpSpMk id="11" creationId="{99E903BA-2B5A-4136-9254-C20261D25C54}"/>
          </ac:grpSpMkLst>
        </pc:grpChg>
        <pc:grpChg chg="mod">
          <ac:chgData name="Toledo, Elena" userId="eded0357-d104-46c3-9338-e6270a8bf591" providerId="ADAL" clId="{BE3B60D5-DA9A-444F-ADB0-4A04F8208545}" dt="2021-10-20T12:58:36.332" v="6134" actId="1037"/>
          <ac:grpSpMkLst>
            <pc:docMk/>
            <pc:sldMk cId="3907444405" sldId="2146847015"/>
            <ac:grpSpMk id="14" creationId="{F4F1705B-FC8C-4FAB-9BD4-E8AC4CA3B7F1}"/>
          </ac:grpSpMkLst>
        </pc:grpChg>
        <pc:grpChg chg="mod">
          <ac:chgData name="Toledo, Elena" userId="eded0357-d104-46c3-9338-e6270a8bf591" providerId="ADAL" clId="{BE3B60D5-DA9A-444F-ADB0-4A04F8208545}" dt="2021-10-20T12:58:40.200" v="6163" actId="1038"/>
          <ac:grpSpMkLst>
            <pc:docMk/>
            <pc:sldMk cId="3907444405" sldId="2146847015"/>
            <ac:grpSpMk id="17" creationId="{A1664725-DFF1-4FE1-9500-3425ACECF963}"/>
          </ac:grpSpMkLst>
        </pc:grpChg>
        <pc:grpChg chg="mod">
          <ac:chgData name="Toledo, Elena" userId="eded0357-d104-46c3-9338-e6270a8bf591" providerId="ADAL" clId="{BE3B60D5-DA9A-444F-ADB0-4A04F8208545}" dt="2021-10-20T12:58:46.305" v="6209" actId="1037"/>
          <ac:grpSpMkLst>
            <pc:docMk/>
            <pc:sldMk cId="3907444405" sldId="2146847015"/>
            <ac:grpSpMk id="20" creationId="{930CF7CD-95EA-4DFA-A9C1-7E78B3D1BED0}"/>
          </ac:grpSpMkLst>
        </pc:grpChg>
        <pc:grpChg chg="add mod">
          <ac:chgData name="Toledo, Elena" userId="eded0357-d104-46c3-9338-e6270a8bf591" providerId="ADAL" clId="{BE3B60D5-DA9A-444F-ADB0-4A04F8208545}" dt="2021-10-20T12:58:55.085" v="6213" actId="1076"/>
          <ac:grpSpMkLst>
            <pc:docMk/>
            <pc:sldMk cId="3907444405" sldId="2146847015"/>
            <ac:grpSpMk id="57" creationId="{4BAB0A20-6951-4A25-B64D-2AFF633CFDFA}"/>
          </ac:grpSpMkLst>
        </pc:grpChg>
        <pc:grpChg chg="add mod">
          <ac:chgData name="Toledo, Elena" userId="eded0357-d104-46c3-9338-e6270a8bf591" providerId="ADAL" clId="{BE3B60D5-DA9A-444F-ADB0-4A04F8208545}" dt="2021-10-20T12:58:57.596" v="6214" actId="1076"/>
          <ac:grpSpMkLst>
            <pc:docMk/>
            <pc:sldMk cId="3907444405" sldId="2146847015"/>
            <ac:grpSpMk id="65" creationId="{86E64A85-2E90-435B-AEA1-864D5511EA9C}"/>
          </ac:grpSpMkLst>
        </pc:grpChg>
      </pc:sldChg>
      <pc:sldChg chg="add">
        <pc:chgData name="Toledo, Elena" userId="eded0357-d104-46c3-9338-e6270a8bf591" providerId="ADAL" clId="{BE3B60D5-DA9A-444F-ADB0-4A04F8208545}" dt="2021-10-20T14:00:22.556" v="7904" actId="2890"/>
        <pc:sldMkLst>
          <pc:docMk/>
          <pc:sldMk cId="850168250" sldId="2146847016"/>
        </pc:sldMkLst>
      </pc:sldChg>
      <pc:sldMasterChg chg="delSldLayout">
        <pc:chgData name="Toledo, Elena" userId="eded0357-d104-46c3-9338-e6270a8bf591" providerId="ADAL" clId="{BE3B60D5-DA9A-444F-ADB0-4A04F8208545}" dt="2021-10-13T20:47:15.968" v="2018" actId="47"/>
        <pc:sldMasterMkLst>
          <pc:docMk/>
          <pc:sldMasterMk cId="2362245834" sldId="2147483660"/>
        </pc:sldMasterMkLst>
        <pc:sldLayoutChg chg="del">
          <pc:chgData name="Toledo, Elena" userId="eded0357-d104-46c3-9338-e6270a8bf591" providerId="ADAL" clId="{BE3B60D5-DA9A-444F-ADB0-4A04F8208545}" dt="2021-10-13T20:47:15.968" v="2018" actId="47"/>
          <pc:sldLayoutMkLst>
            <pc:docMk/>
            <pc:sldMasterMk cId="2362245834" sldId="2147483660"/>
            <pc:sldLayoutMk cId="603486109" sldId="214748368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05F3544-35D5-4879-8291-41DDA08DF830}" type="datetimeFigureOut">
              <a:rPr lang="en-US" smtClean="0"/>
              <a:t>10/19/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B4AFF90-6F5D-4E86-8312-91625573C988}" type="slidenum">
              <a:rPr lang="en-US" smtClean="0"/>
              <a:t>‹Nº›</a:t>
            </a:fld>
            <a:endParaRPr lang="en-US"/>
          </a:p>
        </p:txBody>
      </p:sp>
    </p:spTree>
    <p:extLst>
      <p:ext uri="{BB962C8B-B14F-4D97-AF65-F5344CB8AC3E}">
        <p14:creationId xmlns:p14="http://schemas.microsoft.com/office/powerpoint/2010/main" val="273805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solidFill>
                  <a:schemeClr val="tx1"/>
                </a:solidFill>
                <a:latin typeface="+mn-lt"/>
                <a:ea typeface="+mn-ea"/>
                <a:cs typeface="+mn-cs"/>
              </a:rPr>
              <a:t>Key questions include:</a:t>
            </a:r>
            <a:endParaRPr lang="en-US" sz="1100" i="1">
              <a:solidFill>
                <a:schemeClr val="tx1"/>
              </a:solidFill>
              <a:latin typeface="+mn-lt"/>
              <a:ea typeface="+mn-ea"/>
              <a:cs typeface="+mn-cs"/>
            </a:endParaRPr>
          </a:p>
          <a:p>
            <a:pPr lvl="1"/>
            <a:r>
              <a:rPr lang="en-US" sz="900">
                <a:solidFill>
                  <a:schemeClr val="tx1"/>
                </a:solidFill>
                <a:latin typeface="+mn-lt"/>
                <a:ea typeface="+mn-ea"/>
                <a:cs typeface="+mn-cs"/>
              </a:rPr>
              <a:t>Is the way that Lumen and Columbus interact today changing?</a:t>
            </a:r>
          </a:p>
          <a:p>
            <a:pPr lvl="1"/>
            <a:r>
              <a:rPr lang="en-US" sz="900"/>
              <a:t>Is how I do my job today changing?</a:t>
            </a:r>
          </a:p>
          <a:p>
            <a:pPr lvl="1"/>
            <a:r>
              <a:rPr lang="en-US" sz="900"/>
              <a:t>Is there an interim process in place to support Day 1?</a:t>
            </a:r>
          </a:p>
        </p:txBody>
      </p:sp>
      <p:sp>
        <p:nvSpPr>
          <p:cNvPr id="4" name="Slide Number Placeholder 3"/>
          <p:cNvSpPr>
            <a:spLocks noGrp="1"/>
          </p:cNvSpPr>
          <p:nvPr>
            <p:ph type="sldNum" sz="quarter" idx="5"/>
          </p:nvPr>
        </p:nvSpPr>
        <p:spPr/>
        <p:txBody>
          <a:bodyPr/>
          <a:lstStyle/>
          <a:p>
            <a:fld id="{FDC51E72-025F-49C8-882A-B0132C5AF9ED}" type="slidenum">
              <a:rPr lang="en-GB" smtClean="0"/>
              <a:t>2</a:t>
            </a:fld>
            <a:endParaRPr lang="en-GB"/>
          </a:p>
        </p:txBody>
      </p:sp>
    </p:spTree>
    <p:extLst>
      <p:ext uri="{BB962C8B-B14F-4D97-AF65-F5344CB8AC3E}">
        <p14:creationId xmlns:p14="http://schemas.microsoft.com/office/powerpoint/2010/main" val="89498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444206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53684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2B4AFF90-6F5D-4E86-8312-91625573C988}" type="slidenum">
              <a:rPr lang="en-US" smtClean="0"/>
              <a:t>7</a:t>
            </a:fld>
            <a:endParaRPr lang="en-US"/>
          </a:p>
        </p:txBody>
      </p:sp>
    </p:spTree>
    <p:extLst>
      <p:ext uri="{BB962C8B-B14F-4D97-AF65-F5344CB8AC3E}">
        <p14:creationId xmlns:p14="http://schemas.microsoft.com/office/powerpoint/2010/main" val="4204917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137538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2B4AFF90-6F5D-4E86-8312-91625573C988}" type="slidenum">
              <a:rPr lang="en-US" smtClean="0"/>
              <a:t>9</a:t>
            </a:fld>
            <a:endParaRPr lang="en-US"/>
          </a:p>
        </p:txBody>
      </p:sp>
    </p:spTree>
    <p:extLst>
      <p:ext uri="{BB962C8B-B14F-4D97-AF65-F5344CB8AC3E}">
        <p14:creationId xmlns:p14="http://schemas.microsoft.com/office/powerpoint/2010/main" val="2749052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349182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949372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984985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522235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296729-F8F0-F644-A7CA-E981330DE0F0}"/>
              </a:ext>
            </a:extLst>
          </p:cNvPr>
          <p:cNvPicPr>
            <a:picLocks/>
          </p:cNvPicPr>
          <p:nvPr userDrawn="1"/>
        </p:nvPicPr>
        <p:blipFill>
          <a:blip r:embed="rId2"/>
          <a:srcRect/>
          <a:stretch/>
        </p:blipFill>
        <p:spPr>
          <a:xfrm>
            <a:off x="0" y="0"/>
            <a:ext cx="9144000" cy="5148072"/>
          </a:xfrm>
          <a:prstGeom prst="rect">
            <a:avLst/>
          </a:prstGeom>
        </p:spPr>
      </p:pic>
      <p:sp>
        <p:nvSpPr>
          <p:cNvPr id="9" name="Rectangle 8">
            <a:extLst>
              <a:ext uri="{FF2B5EF4-FFF2-40B4-BE49-F238E27FC236}">
                <a16:creationId xmlns:a16="http://schemas.microsoft.com/office/drawing/2014/main" id="{5622F5B9-E8AE-5E4A-9FEC-3BADFF3419CC}"/>
              </a:ext>
            </a:extLst>
          </p:cNvPr>
          <p:cNvSpPr/>
          <p:nvPr userDrawn="1"/>
        </p:nvSpPr>
        <p:spPr>
          <a:xfrm>
            <a:off x="0" y="0"/>
            <a:ext cx="139775" cy="514349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32382" y="2411188"/>
            <a:ext cx="7930038" cy="1241822"/>
          </a:xfrm>
        </p:spPr>
        <p:txBody>
          <a:bodyPr>
            <a:norm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249509" y="4566542"/>
            <a:ext cx="2057400" cy="273844"/>
          </a:xfrm>
          <a:prstGeom prst="rect">
            <a:avLst/>
          </a:prstGeom>
        </p:spPr>
        <p:txBody>
          <a:bodyPr/>
          <a:lstStyle>
            <a:lvl1pPr>
              <a:defRPr sz="1050">
                <a:solidFill>
                  <a:schemeClr val="bg2">
                    <a:lumMod val="50000"/>
                  </a:schemeClr>
                </a:solidFill>
              </a:defRPr>
            </a:lvl1pPr>
          </a:lstStyle>
          <a:p>
            <a:fld id="{C764DE79-268F-4C1A-8933-263129D2AF90}" type="datetimeFigureOut">
              <a:rPr lang="en-US" smtClean="0"/>
              <a:pPr/>
              <a:t>10/19/2021</a:t>
            </a:fld>
            <a:endParaRPr lang="en-US"/>
          </a:p>
        </p:txBody>
      </p:sp>
      <p:sp>
        <p:nvSpPr>
          <p:cNvPr id="14" name="Title 13">
            <a:extLst>
              <a:ext uri="{FF2B5EF4-FFF2-40B4-BE49-F238E27FC236}">
                <a16:creationId xmlns:a16="http://schemas.microsoft.com/office/drawing/2014/main" id="{DEF26EBB-8E7B-D146-A34C-3C1CEB98AF5C}"/>
              </a:ext>
            </a:extLst>
          </p:cNvPr>
          <p:cNvSpPr>
            <a:spLocks noGrp="1"/>
          </p:cNvSpPr>
          <p:nvPr>
            <p:ph type="title"/>
          </p:nvPr>
        </p:nvSpPr>
        <p:spPr>
          <a:xfrm>
            <a:off x="606981" y="1106872"/>
            <a:ext cx="7930038" cy="1259182"/>
          </a:xfrm>
        </p:spPr>
        <p:txBody>
          <a:bodyPr anchor="b">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043F06DF-BB04-9045-8705-DC28E84E80BB}"/>
              </a:ext>
            </a:extLst>
          </p:cNvPr>
          <p:cNvSpPr/>
          <p:nvPr userDrawn="1"/>
        </p:nvSpPr>
        <p:spPr>
          <a:xfrm>
            <a:off x="317452" y="4916157"/>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11" name="Picture 10" descr="A picture containing clock&#10;&#10;Description automatically generated">
            <a:extLst>
              <a:ext uri="{FF2B5EF4-FFF2-40B4-BE49-F238E27FC236}">
                <a16:creationId xmlns:a16="http://schemas.microsoft.com/office/drawing/2014/main" id="{89D8B107-0A5A-8441-8B74-1B24E7BB3332}"/>
              </a:ext>
            </a:extLst>
          </p:cNvPr>
          <p:cNvPicPr>
            <a:picLocks noChangeAspect="1"/>
          </p:cNvPicPr>
          <p:nvPr userDrawn="1"/>
        </p:nvPicPr>
        <p:blipFill>
          <a:blip r:embed="rId3"/>
          <a:stretch>
            <a:fillRect/>
          </a:stretch>
        </p:blipFill>
        <p:spPr>
          <a:xfrm>
            <a:off x="7248571" y="4504186"/>
            <a:ext cx="1603374" cy="425385"/>
          </a:xfrm>
          <a:prstGeom prst="rect">
            <a:avLst/>
          </a:prstGeom>
        </p:spPr>
      </p:pic>
    </p:spTree>
    <p:extLst>
      <p:ext uri="{BB962C8B-B14F-4D97-AF65-F5344CB8AC3E}">
        <p14:creationId xmlns:p14="http://schemas.microsoft.com/office/powerpoint/2010/main" val="40609646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1"/>
            <a:ext cx="8229600" cy="617934"/>
          </a:xfrm>
        </p:spPr>
        <p:txBody>
          <a:bodyPr/>
          <a:lstStyle/>
          <a:p>
            <a:r>
              <a:rPr lang="en-US"/>
              <a:t>Click to edit Master title style</a:t>
            </a:r>
          </a:p>
        </p:txBody>
      </p:sp>
      <p:sp>
        <p:nvSpPr>
          <p:cNvPr id="3" name="Text Placeholder 2"/>
          <p:cNvSpPr>
            <a:spLocks noGrp="1"/>
          </p:cNvSpPr>
          <p:nvPr>
            <p:ph type="body" idx="1"/>
          </p:nvPr>
        </p:nvSpPr>
        <p:spPr>
          <a:xfrm>
            <a:off x="457200" y="102103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55657"/>
            <a:ext cx="3868340" cy="2986590"/>
          </a:xfrm>
        </p:spPr>
        <p:txBody>
          <a:body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99409" y="102103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799409" y="1655658"/>
            <a:ext cx="3887391" cy="2986590"/>
          </a:xfrm>
        </p:spPr>
        <p:txBody>
          <a:bodyPr/>
          <a:lstStyle/>
          <a:p>
            <a:pPr lvl="0"/>
            <a:r>
              <a:rPr lang="en-US"/>
              <a:t>Click to edit Master text styles</a:t>
            </a:r>
          </a:p>
          <a:p>
            <a:pPr lvl="1"/>
            <a:r>
              <a:rPr lang="en-US"/>
              <a:t>Second level</a:t>
            </a:r>
          </a:p>
          <a:p>
            <a:pPr lvl="2"/>
            <a:r>
              <a:rPr lang="en-US"/>
              <a:t>Third level</a:t>
            </a:r>
          </a:p>
        </p:txBody>
      </p:sp>
      <p:sp>
        <p:nvSpPr>
          <p:cNvPr id="8" name="Slide Number Placeholder 5">
            <a:extLst>
              <a:ext uri="{FF2B5EF4-FFF2-40B4-BE49-F238E27FC236}">
                <a16:creationId xmlns:a16="http://schemas.microsoft.com/office/drawing/2014/main" id="{F3F4A597-5E1F-1F46-B0A3-DFC4E708EFF8}"/>
              </a:ext>
            </a:extLst>
          </p:cNvPr>
          <p:cNvSpPr>
            <a:spLocks noGrp="1"/>
          </p:cNvSpPr>
          <p:nvPr>
            <p:ph type="sldNum" sz="quarter" idx="10"/>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549510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61BFAEFA-C930-344D-8094-90C929E41702}"/>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1278191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1B57F51-CB43-2E4B-A9DA-19B7710F55F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358362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1DC3B6-45A0-8242-92C8-3ECAB27A2DA8}"/>
              </a:ext>
            </a:extLst>
          </p:cNvPr>
          <p:cNvSpPr/>
          <p:nvPr userDrawn="1"/>
        </p:nvSpPr>
        <p:spPr>
          <a:xfrm>
            <a:off x="0" y="0"/>
            <a:ext cx="9144000" cy="185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Rectangle 4">
            <a:extLst>
              <a:ext uri="{FF2B5EF4-FFF2-40B4-BE49-F238E27FC236}">
                <a16:creationId xmlns:a16="http://schemas.microsoft.com/office/drawing/2014/main" id="{13DC30AD-B46C-2D47-8898-A25FD2603CE9}"/>
              </a:ext>
            </a:extLst>
          </p:cNvPr>
          <p:cNvSpPr/>
          <p:nvPr userDrawn="1"/>
        </p:nvSpPr>
        <p:spPr>
          <a:xfrm>
            <a:off x="1" y="0"/>
            <a:ext cx="224852"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Title 1">
            <a:extLst>
              <a:ext uri="{FF2B5EF4-FFF2-40B4-BE49-F238E27FC236}">
                <a16:creationId xmlns:a16="http://schemas.microsoft.com/office/drawing/2014/main" id="{3156A892-D42B-F94C-A306-4A6E49A13A1E}"/>
              </a:ext>
            </a:extLst>
          </p:cNvPr>
          <p:cNvSpPr>
            <a:spLocks noGrp="1"/>
          </p:cNvSpPr>
          <p:nvPr>
            <p:ph type="title"/>
          </p:nvPr>
        </p:nvSpPr>
        <p:spPr>
          <a:xfrm>
            <a:off x="457200" y="365760"/>
            <a:ext cx="8229600" cy="62622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E865BCC9-3271-D040-98FE-4E6BE8C16FB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994521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217DD6-7104-014F-8F28-477049DAA9E3}"/>
              </a:ext>
            </a:extLst>
          </p:cNvPr>
          <p:cNvSpPr/>
          <p:nvPr userDrawn="1"/>
        </p:nvSpPr>
        <p:spPr>
          <a:xfrm>
            <a:off x="0" y="0"/>
            <a:ext cx="376253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4119738" y="936885"/>
            <a:ext cx="4629150" cy="3470946"/>
          </a:xfrm>
        </p:spPr>
        <p:txBody>
          <a:bodyPr>
            <a:normAutofit/>
          </a:bodyPr>
          <a:lstStyle>
            <a:lvl1pPr>
              <a:defRPr sz="16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en-US"/>
              <a:t>Click to edit Master text styles</a:t>
            </a:r>
          </a:p>
        </p:txBody>
      </p:sp>
      <p:sp>
        <p:nvSpPr>
          <p:cNvPr id="4" name="Text Placeholder 3"/>
          <p:cNvSpPr>
            <a:spLocks noGrp="1"/>
          </p:cNvSpPr>
          <p:nvPr>
            <p:ph type="body" sz="half" idx="2"/>
          </p:nvPr>
        </p:nvSpPr>
        <p:spPr>
          <a:xfrm>
            <a:off x="629841" y="1885950"/>
            <a:ext cx="2949178" cy="2515791"/>
          </a:xfrm>
        </p:spPr>
        <p:txBody>
          <a:bodyPr>
            <a:normAutofit/>
          </a:bodyPr>
          <a:lstStyle>
            <a:lvl1pPr marL="120650" indent="-120650">
              <a:buClr>
                <a:schemeClr val="tx1"/>
              </a:buClr>
              <a:buFont typeface="Arial" panose="020B0604020202020204" pitchFamily="34" charset="0"/>
              <a:buChar char="•"/>
              <a:tabLst/>
              <a:defRPr sz="1600"/>
            </a:lvl1pPr>
            <a:lvl2pPr marL="233363" indent="-112713">
              <a:buFont typeface="Monaco" pitchFamily="2" charset="77"/>
              <a:buChar char="⎻"/>
              <a:tabLst/>
              <a:defRPr sz="1400"/>
            </a:lvl2pPr>
            <a:lvl3pPr marL="347663" indent="-114300">
              <a:buFont typeface="Arial" panose="020B0604020202020204" pitchFamily="34" charset="0"/>
              <a:buChar char="•"/>
              <a:tabLst/>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EEA91F93-C01C-3B40-83BD-D7131A565B4B}"/>
              </a:ext>
            </a:extLst>
          </p:cNvPr>
          <p:cNvSpPr/>
          <p:nvPr userDrawn="1"/>
        </p:nvSpPr>
        <p:spPr>
          <a:xfrm>
            <a:off x="3762531" y="0"/>
            <a:ext cx="5381469" cy="277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6BEE385D-A04C-384D-B8EE-DB7785726ABC}"/>
              </a:ext>
            </a:extLst>
          </p:cNvPr>
          <p:cNvSpPr>
            <a:spLocks noGrp="1"/>
          </p:cNvSpPr>
          <p:nvPr>
            <p:ph type="body" sz="quarter" idx="13"/>
          </p:nvPr>
        </p:nvSpPr>
        <p:spPr>
          <a:xfrm>
            <a:off x="630238" y="1543050"/>
            <a:ext cx="2949575" cy="268288"/>
          </a:xfrm>
        </p:spPr>
        <p:txBody>
          <a:bodyPr/>
          <a:lstStyle>
            <a:lvl1pPr marL="0" indent="0">
              <a:buFontTx/>
              <a:buNone/>
              <a:defRPr/>
            </a:lvl1pPr>
          </a:lstStyle>
          <a:p>
            <a:pPr lvl="0"/>
            <a:r>
              <a:rPr lang="en-US"/>
              <a:t>Click to edit Master text styles</a:t>
            </a:r>
          </a:p>
        </p:txBody>
      </p:sp>
      <p:sp>
        <p:nvSpPr>
          <p:cNvPr id="10" name="Rectangle 9">
            <a:extLst>
              <a:ext uri="{FF2B5EF4-FFF2-40B4-BE49-F238E27FC236}">
                <a16:creationId xmlns:a16="http://schemas.microsoft.com/office/drawing/2014/main" id="{60D09CA6-8E1B-9A49-AD55-A9E640A55953}"/>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1 Lumen Technologies. All Rights Reserved. </a:t>
            </a:r>
          </a:p>
        </p:txBody>
      </p:sp>
      <p:sp>
        <p:nvSpPr>
          <p:cNvPr id="11" name="Slide Number Placeholder 5">
            <a:extLst>
              <a:ext uri="{FF2B5EF4-FFF2-40B4-BE49-F238E27FC236}">
                <a16:creationId xmlns:a16="http://schemas.microsoft.com/office/drawing/2014/main" id="{D27F29D1-5F39-5E47-815B-6248C04B72F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154277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2E83CD8B-8BEE-8D48-AE97-E2F3695C91B3}"/>
              </a:ext>
            </a:extLst>
          </p:cNvPr>
          <p:cNvSpPr>
            <a:spLocks noGrp="1"/>
          </p:cNvSpPr>
          <p:nvPr>
            <p:ph type="chart" sz="quarter" idx="13" hasCustomPrompt="1"/>
          </p:nvPr>
        </p:nvSpPr>
        <p:spPr>
          <a:xfrm>
            <a:off x="3887391" y="738587"/>
            <a:ext cx="4626768" cy="3663154"/>
          </a:xfrm>
        </p:spPr>
        <p:txBody>
          <a:bodyPr/>
          <a:lstStyle>
            <a:lvl1pPr marL="0" marR="0" indent="0" algn="l" defTabSz="685800" rtl="0" eaLnBrk="1" fontAlgn="auto" latinLnBrk="0" hangingPunct="1">
              <a:lnSpc>
                <a:spcPct val="90000"/>
              </a:lnSpc>
              <a:spcBef>
                <a:spcPts val="750"/>
              </a:spcBef>
              <a:spcAft>
                <a:spcPts val="0"/>
              </a:spcAft>
              <a:buClr>
                <a:schemeClr val="accent3"/>
              </a:buClr>
              <a:buSzPct val="100000"/>
              <a:buFontTx/>
              <a:buNone/>
              <a:tabLst/>
              <a:defRPr/>
            </a:lvl1pPr>
          </a:lstStyle>
          <a:p>
            <a:pPr marL="171450" marR="0" lvl="0" indent="-171450" algn="l" defTabSz="685800" rtl="0" eaLnBrk="1" fontAlgn="auto" latinLnBrk="0" hangingPunct="1">
              <a:lnSpc>
                <a:spcPct val="90000"/>
              </a:lnSpc>
              <a:spcBef>
                <a:spcPts val="750"/>
              </a:spcBef>
              <a:spcAft>
                <a:spcPts val="0"/>
              </a:spcAft>
              <a:buClr>
                <a:schemeClr val="accent3"/>
              </a:buClr>
              <a:buSzPct val="100000"/>
              <a:buFont typeface="Arial" panose="020B0604020202020204" pitchFamily="34" charset="0"/>
              <a:buChar char="•"/>
              <a:tabLst/>
              <a:defRPr/>
            </a:pPr>
            <a:r>
              <a:rPr lang="en-US"/>
              <a:t>Click icon to add picture</a:t>
            </a:r>
          </a:p>
          <a:p>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6" name="Slide Number Placeholder 5">
            <a:extLst>
              <a:ext uri="{FF2B5EF4-FFF2-40B4-BE49-F238E27FC236}">
                <a16:creationId xmlns:a16="http://schemas.microsoft.com/office/drawing/2014/main" id="{432CC082-6E87-6B43-8C43-0AE08D2B218B}"/>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1842308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DF1E5326-C8BD-9F4C-AF4B-21554AC59F4A}"/>
              </a:ext>
            </a:extLst>
          </p:cNvPr>
          <p:cNvSpPr>
            <a:spLocks noGrp="1"/>
          </p:cNvSpPr>
          <p:nvPr>
            <p:ph sz="half" idx="1"/>
          </p:nvPr>
        </p:nvSpPr>
        <p:spPr>
          <a:xfrm>
            <a:off x="3887391" y="738587"/>
            <a:ext cx="4626768" cy="3663154"/>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8" name="Slide Number Placeholder 5">
            <a:extLst>
              <a:ext uri="{FF2B5EF4-FFF2-40B4-BE49-F238E27FC236}">
                <a16:creationId xmlns:a16="http://schemas.microsoft.com/office/drawing/2014/main" id="{0524FA6A-E544-F346-B19B-6E4FDBD9FD4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1244586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line White Slide">
    <p:spTree>
      <p:nvGrpSpPr>
        <p:cNvPr id="1" name=""/>
        <p:cNvGrpSpPr/>
        <p:nvPr/>
      </p:nvGrpSpPr>
      <p:grpSpPr>
        <a:xfrm>
          <a:off x="0" y="0"/>
          <a:ext cx="0" cy="0"/>
          <a:chOff x="0" y="0"/>
          <a:chExt cx="0" cy="0"/>
        </a:xfrm>
      </p:grpSpPr>
      <p:sp>
        <p:nvSpPr>
          <p:cNvPr id="7" name="Google Shape;88;p17">
            <a:extLst>
              <a:ext uri="{FF2B5EF4-FFF2-40B4-BE49-F238E27FC236}">
                <a16:creationId xmlns:a16="http://schemas.microsoft.com/office/drawing/2014/main" id="{4BED3398-50B2-204B-8F76-E3433308D810}"/>
              </a:ext>
            </a:extLst>
          </p:cNvPr>
          <p:cNvSpPr/>
          <p:nvPr userDrawn="1"/>
        </p:nvSpPr>
        <p:spPr>
          <a:xfrm>
            <a:off x="0" y="0"/>
            <a:ext cx="9144000" cy="5143500"/>
          </a:xfrm>
          <a:prstGeom prst="rect">
            <a:avLst/>
          </a:prstGeom>
          <a:noFill/>
          <a:ln>
            <a:noFill/>
          </a:ln>
        </p:spPr>
        <p:txBody>
          <a:bodyPr spcFirstLastPara="1" wrap="square" lIns="68569" tIns="68569" rIns="68569" bIns="68569" anchor="ctr" anchorCtr="0">
            <a:noAutofit/>
          </a:bodyPr>
          <a:lstStyle/>
          <a:p>
            <a:pPr marL="0" lvl="0" indent="0" algn="l" rtl="0">
              <a:spcBef>
                <a:spcPts val="0"/>
              </a:spcBef>
              <a:spcAft>
                <a:spcPts val="0"/>
              </a:spcAft>
              <a:buNone/>
            </a:pPr>
            <a:r>
              <a:rPr lang="en-US" sz="1350" b="0" i="0">
                <a:solidFill>
                  <a:schemeClr val="bg1">
                    <a:lumMod val="85000"/>
                  </a:schemeClr>
                </a:solidFill>
                <a:latin typeface="Roboto" panose="02000000000000000000" pitchFamily="2" charset="0"/>
              </a:rPr>
              <a:t> </a:t>
            </a:r>
            <a:endParaRPr sz="1350" b="0" i="0">
              <a:solidFill>
                <a:schemeClr val="bg1">
                  <a:lumMod val="85000"/>
                </a:schemeClr>
              </a:solidFill>
              <a:latin typeface="Roboto" panose="02000000000000000000" pitchFamily="2" charset="0"/>
            </a:endParaRPr>
          </a:p>
        </p:txBody>
      </p:sp>
      <p:sp>
        <p:nvSpPr>
          <p:cNvPr id="19" name="Text Placeholder 2">
            <a:extLst>
              <a:ext uri="{FF2B5EF4-FFF2-40B4-BE49-F238E27FC236}">
                <a16:creationId xmlns:a16="http://schemas.microsoft.com/office/drawing/2014/main" id="{BDBB7FA1-9C57-A44A-A592-9E4D3DB69B19}"/>
              </a:ext>
            </a:extLst>
          </p:cNvPr>
          <p:cNvSpPr>
            <a:spLocks noGrp="1"/>
          </p:cNvSpPr>
          <p:nvPr>
            <p:ph type="body" sz="quarter" idx="11" hasCustomPrompt="1"/>
          </p:nvPr>
        </p:nvSpPr>
        <p:spPr>
          <a:xfrm>
            <a:off x="695802" y="1202813"/>
            <a:ext cx="7778543" cy="595312"/>
          </a:xfrm>
          <a:prstGeom prst="rect">
            <a:avLst/>
          </a:prstGeom>
        </p:spPr>
        <p:txBody>
          <a:bodyPr/>
          <a:lstStyle>
            <a:lvl1pPr marL="0" indent="0">
              <a:buNone/>
              <a:defRPr sz="1200" b="0" i="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stStyle>
          <a:p>
            <a:pPr lvl="0"/>
            <a:r>
              <a:rPr lang="en-US"/>
              <a:t>Content goes here.</a:t>
            </a:r>
          </a:p>
        </p:txBody>
      </p:sp>
      <p:sp>
        <p:nvSpPr>
          <p:cNvPr id="3" name="Text Placeholder 2">
            <a:extLst>
              <a:ext uri="{FF2B5EF4-FFF2-40B4-BE49-F238E27FC236}">
                <a16:creationId xmlns:a16="http://schemas.microsoft.com/office/drawing/2014/main" id="{44ED5658-0C28-4443-B358-85BC0726AC0D}"/>
              </a:ext>
            </a:extLst>
          </p:cNvPr>
          <p:cNvSpPr>
            <a:spLocks noGrp="1"/>
          </p:cNvSpPr>
          <p:nvPr>
            <p:ph type="body" sz="quarter" idx="12" hasCustomPrompt="1"/>
          </p:nvPr>
        </p:nvSpPr>
        <p:spPr>
          <a:xfrm>
            <a:off x="695802" y="664171"/>
            <a:ext cx="7778354" cy="457200"/>
          </a:xfrm>
          <a:prstGeom prst="rect">
            <a:avLst/>
          </a:prstGeom>
        </p:spPr>
        <p:txBody>
          <a:bodyPr/>
          <a:lstStyle>
            <a:lvl1pPr marL="0" indent="0">
              <a:buNone/>
              <a:defRPr sz="3300" b="0" i="0">
                <a:solidFill>
                  <a:srgbClr val="0072C6"/>
                </a:solidFill>
                <a:latin typeface="Roboto Thin" panose="02000000000000000000" pitchFamily="2" charset="0"/>
                <a:ea typeface="Roboto Thin" panose="02000000000000000000" pitchFamily="2" charset="0"/>
                <a:cs typeface="Roboto Thin" panose="02000000000000000000" pitchFamily="2" charset="0"/>
              </a:defRPr>
            </a:lvl1pPr>
            <a:lvl2pPr marL="342892" indent="0">
              <a:buNone/>
              <a:defRPr b="0" i="0">
                <a:latin typeface="Roboto Light" panose="02000000000000000000" pitchFamily="2" charset="0"/>
                <a:ea typeface="Roboto Light" panose="02000000000000000000" pitchFamily="2" charset="0"/>
                <a:cs typeface="Roboto Light" panose="02000000000000000000" pitchFamily="2" charset="0"/>
              </a:defRPr>
            </a:lvl2pPr>
            <a:lvl3pPr marL="685783"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3pPr>
            <a:lvl4pPr marL="1028675" indent="0">
              <a:buNone/>
              <a:defRPr b="0" i="0">
                <a:latin typeface="Roboto Light" panose="02000000000000000000" pitchFamily="2" charset="0"/>
                <a:ea typeface="Roboto Light" panose="02000000000000000000" pitchFamily="2" charset="0"/>
                <a:cs typeface="Roboto Light" panose="02000000000000000000" pitchFamily="2" charset="0"/>
              </a:defRPr>
            </a:lvl4pPr>
            <a:lvl5pPr marL="1371566"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Headline Goes Here</a:t>
            </a:r>
          </a:p>
        </p:txBody>
      </p:sp>
    </p:spTree>
    <p:extLst>
      <p:ext uri="{BB962C8B-B14F-4D97-AF65-F5344CB8AC3E}">
        <p14:creationId xmlns:p14="http://schemas.microsoft.com/office/powerpoint/2010/main" val="561789660"/>
      </p:ext>
    </p:extLst>
  </p:cSld>
  <p:clrMapOvr>
    <a:masterClrMapping/>
  </p:clrMapOvr>
  <p:extLst>
    <p:ext uri="{DCECCB84-F9BA-43D5-87BE-67443E8EF086}">
      <p15:sldGuideLst xmlns:p15="http://schemas.microsoft.com/office/powerpoint/2012/main">
        <p15:guide id="1" orient="horz" pos="552">
          <p15:clr>
            <a:srgbClr val="FBAE40"/>
          </p15:clr>
        </p15:guide>
        <p15:guide id="2" pos="5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l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a:off x="0" y="0"/>
            <a:ext cx="9144000" cy="4504692"/>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911312"/>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4204994"/>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0/19/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517161" y="4451406"/>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25FE8C9A-A69F-7D4D-AFF6-2F358AD86049}"/>
              </a:ext>
            </a:extLst>
          </p:cNvPr>
          <p:cNvSpPr/>
          <p:nvPr userDrawn="1"/>
        </p:nvSpPr>
        <p:spPr>
          <a:xfrm>
            <a:off x="317452" y="4902236"/>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11" name="Picture 10" descr="A picture containing clock&#10;&#10;Description automatically generated">
            <a:extLst>
              <a:ext uri="{FF2B5EF4-FFF2-40B4-BE49-F238E27FC236}">
                <a16:creationId xmlns:a16="http://schemas.microsoft.com/office/drawing/2014/main" id="{74DE31DD-2F1A-404A-99D9-7764CA1F94C5}"/>
              </a:ext>
            </a:extLst>
          </p:cNvPr>
          <p:cNvPicPr>
            <a:picLocks noChangeAspect="1"/>
          </p:cNvPicPr>
          <p:nvPr userDrawn="1"/>
        </p:nvPicPr>
        <p:blipFill>
          <a:blip r:embed="rId2"/>
          <a:stretch>
            <a:fillRect/>
          </a:stretch>
        </p:blipFill>
        <p:spPr>
          <a:xfrm>
            <a:off x="7519353" y="4626115"/>
            <a:ext cx="1603374" cy="425385"/>
          </a:xfrm>
          <a:prstGeom prst="rect">
            <a:avLst/>
          </a:prstGeom>
        </p:spPr>
      </p:pic>
    </p:spTree>
    <p:extLst>
      <p:ext uri="{BB962C8B-B14F-4D97-AF65-F5344CB8AC3E}">
        <p14:creationId xmlns:p14="http://schemas.microsoft.com/office/powerpoint/2010/main" val="1771725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ri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flipV="1">
            <a:off x="-559" y="4441369"/>
            <a:ext cx="9144000" cy="70212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682917"/>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3932777"/>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0/19/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468131" y="4441369"/>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E8943EAC-1D41-8344-80F2-D3514B8FECD8}"/>
              </a:ext>
            </a:extLst>
          </p:cNvPr>
          <p:cNvSpPr/>
          <p:nvPr userDrawn="1"/>
        </p:nvSpPr>
        <p:spPr>
          <a:xfrm>
            <a:off x="0" y="0"/>
            <a:ext cx="9144000" cy="26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F444D97-6684-5741-8E58-3D3D708E76CF}"/>
              </a:ext>
            </a:extLst>
          </p:cNvPr>
          <p:cNvSpPr/>
          <p:nvPr userDrawn="1"/>
        </p:nvSpPr>
        <p:spPr>
          <a:xfrm>
            <a:off x="309288" y="4908149"/>
            <a:ext cx="2976902" cy="184666"/>
          </a:xfrm>
          <a:prstGeom prst="rect">
            <a:avLst/>
          </a:prstGeom>
        </p:spPr>
        <p:txBody>
          <a:bodyPr wrap="square" lIns="0">
            <a:spAutoFit/>
          </a:bodyPr>
          <a:lstStyle/>
          <a:p>
            <a:r>
              <a:rPr lang="en-US" sz="600" b="0" i="0" kern="1200">
                <a:solidFill>
                  <a:schemeClr val="tx1">
                    <a:lumMod val="95000"/>
                    <a:lumOff val="5000"/>
                  </a:schemeClr>
                </a:solidFill>
                <a:effectLst/>
                <a:latin typeface="Arial" panose="020B0604020202020204" pitchFamily="34" charset="0"/>
                <a:ea typeface="+mn-ea"/>
                <a:cs typeface="Arial" panose="020B0604020202020204" pitchFamily="34" charset="0"/>
              </a:rPr>
              <a:t>© 2021 Lumen Technologies. All Rights Reserved.</a:t>
            </a:r>
            <a:r>
              <a:rPr lang="en-US" sz="600">
                <a:solidFill>
                  <a:schemeClr val="tx1">
                    <a:lumMod val="95000"/>
                    <a:lumOff val="5000"/>
                  </a:schemeClr>
                </a:solidFill>
                <a:latin typeface="Arial" panose="020B0604020202020204" pitchFamily="34" charset="0"/>
                <a:cs typeface="Arial" panose="020B0604020202020204" pitchFamily="34" charset="0"/>
              </a:rPr>
              <a:t> </a:t>
            </a:r>
          </a:p>
        </p:txBody>
      </p:sp>
      <p:pic>
        <p:nvPicPr>
          <p:cNvPr id="8" name="Picture 7" descr="A picture containing drawing&#10;&#10;Description automatically generated">
            <a:extLst>
              <a:ext uri="{FF2B5EF4-FFF2-40B4-BE49-F238E27FC236}">
                <a16:creationId xmlns:a16="http://schemas.microsoft.com/office/drawing/2014/main" id="{F6DD24DA-8431-3249-81A4-4F58F469C9A6}"/>
              </a:ext>
            </a:extLst>
          </p:cNvPr>
          <p:cNvPicPr>
            <a:picLocks noChangeAspect="1"/>
          </p:cNvPicPr>
          <p:nvPr userDrawn="1"/>
        </p:nvPicPr>
        <p:blipFill>
          <a:blip r:embed="rId2"/>
          <a:stretch>
            <a:fillRect/>
          </a:stretch>
        </p:blipFill>
        <p:spPr>
          <a:xfrm>
            <a:off x="7498080" y="4625356"/>
            <a:ext cx="1642375" cy="435732"/>
          </a:xfrm>
          <a:prstGeom prst="rect">
            <a:avLst/>
          </a:prstGeom>
        </p:spPr>
      </p:pic>
    </p:spTree>
    <p:extLst>
      <p:ext uri="{BB962C8B-B14F-4D97-AF65-F5344CB8AC3E}">
        <p14:creationId xmlns:p14="http://schemas.microsoft.com/office/powerpoint/2010/main" val="747101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96640FD5-23D4-E148-9D14-43D71CA8D42C}"/>
              </a:ext>
            </a:extLst>
          </p:cNvPr>
          <p:cNvSpPr>
            <a:spLocks noGrp="1"/>
          </p:cNvSpPr>
          <p:nvPr>
            <p:ph type="sldNum" sz="quarter" idx="4"/>
          </p:nvPr>
        </p:nvSpPr>
        <p:spPr>
          <a:xfrm>
            <a:off x="262438" y="4792290"/>
            <a:ext cx="2436311"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1279626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0"/>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52578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5257801"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825E2E8B-6BA6-E640-B0AC-85154381703E}"/>
              </a:ext>
            </a:extLst>
          </p:cNvPr>
          <p:cNvSpPr>
            <a:spLocks noGrp="1"/>
          </p:cNvSpPr>
          <p:nvPr>
            <p:ph type="pic" sz="quarter" idx="14"/>
          </p:nvPr>
        </p:nvSpPr>
        <p:spPr>
          <a:xfrm>
            <a:off x="5949589" y="1098224"/>
            <a:ext cx="2737211" cy="2671663"/>
          </a:xfrm>
        </p:spPr>
        <p:txBody>
          <a:bodyPr/>
          <a:lstStyle/>
          <a:p>
            <a:endParaRPr lang="en-US"/>
          </a:p>
        </p:txBody>
      </p:sp>
      <p:sp>
        <p:nvSpPr>
          <p:cNvPr id="8" name="Slide Number Placeholder 5">
            <a:extLst>
              <a:ext uri="{FF2B5EF4-FFF2-40B4-BE49-F238E27FC236}">
                <a16:creationId xmlns:a16="http://schemas.microsoft.com/office/drawing/2014/main" id="{6E5C4D1F-DEC8-104F-A4DD-73A8A0E013EE}"/>
              </a:ext>
            </a:extLst>
          </p:cNvPr>
          <p:cNvSpPr>
            <a:spLocks noGrp="1"/>
          </p:cNvSpPr>
          <p:nvPr>
            <p:ph type="sldNum" sz="quarter" idx="4"/>
          </p:nvPr>
        </p:nvSpPr>
        <p:spPr>
          <a:xfrm>
            <a:off x="262439" y="4792290"/>
            <a:ext cx="328111"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3153637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0"/>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82296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8229599"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12815943-AE4F-064C-8525-BBDDBB2F5BC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4039050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0" y="1413760"/>
            <a:ext cx="179882" cy="230098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40080" y="208384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55243FAE-C295-9F4A-81C0-AF1DDD2CE7C2}"/>
              </a:ext>
            </a:extLst>
          </p:cNvPr>
          <p:cNvSpPr/>
          <p:nvPr userDrawn="1"/>
        </p:nvSpPr>
        <p:spPr>
          <a:xfrm>
            <a:off x="662226" y="483778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8" name="Picture 7" descr="A picture containing clock&#10;&#10;Description automatically generated">
            <a:extLst>
              <a:ext uri="{FF2B5EF4-FFF2-40B4-BE49-F238E27FC236}">
                <a16:creationId xmlns:a16="http://schemas.microsoft.com/office/drawing/2014/main" id="{62F6D15D-53D4-3F40-A3CC-476CB2680B33}"/>
              </a:ext>
            </a:extLst>
          </p:cNvPr>
          <p:cNvPicPr>
            <a:picLocks noChangeAspect="1"/>
          </p:cNvPicPr>
          <p:nvPr userDrawn="1"/>
        </p:nvPicPr>
        <p:blipFill>
          <a:blip r:embed="rId2"/>
          <a:stretch>
            <a:fillRect/>
          </a:stretch>
        </p:blipFill>
        <p:spPr>
          <a:xfrm>
            <a:off x="7442162" y="4678477"/>
            <a:ext cx="1603374" cy="425385"/>
          </a:xfrm>
          <a:prstGeom prst="rect">
            <a:avLst/>
          </a:prstGeom>
        </p:spPr>
      </p:pic>
      <p:sp>
        <p:nvSpPr>
          <p:cNvPr id="11" name="Slide Number Placeholder 5">
            <a:extLst>
              <a:ext uri="{FF2B5EF4-FFF2-40B4-BE49-F238E27FC236}">
                <a16:creationId xmlns:a16="http://schemas.microsoft.com/office/drawing/2014/main" id="{5A933E5F-76F0-DF4B-94B7-2B41A2CCB269}"/>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741153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1" y="0"/>
            <a:ext cx="9140275" cy="5143500"/>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6786" y="187398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C4B0FB53-25B5-2246-80E1-D7D0211A0574}"/>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1 Lumen Technologies. All Rights Reserved. </a:t>
            </a:r>
          </a:p>
        </p:txBody>
      </p:sp>
      <p:pic>
        <p:nvPicPr>
          <p:cNvPr id="7" name="Picture 6" descr="A picture containing drawing&#10;&#10;Description automatically generated">
            <a:extLst>
              <a:ext uri="{FF2B5EF4-FFF2-40B4-BE49-F238E27FC236}">
                <a16:creationId xmlns:a16="http://schemas.microsoft.com/office/drawing/2014/main" id="{EF7ADD47-AB10-294D-8E2F-DCAABCBB8F52}"/>
              </a:ext>
            </a:extLst>
          </p:cNvPr>
          <p:cNvPicPr>
            <a:picLocks noChangeAspect="1"/>
          </p:cNvPicPr>
          <p:nvPr userDrawn="1"/>
        </p:nvPicPr>
        <p:blipFill>
          <a:blip r:embed="rId2"/>
          <a:stretch>
            <a:fillRect/>
          </a:stretch>
        </p:blipFill>
        <p:spPr>
          <a:xfrm>
            <a:off x="7440745" y="4678178"/>
            <a:ext cx="1642375" cy="435732"/>
          </a:xfrm>
          <a:prstGeom prst="rect">
            <a:avLst/>
          </a:prstGeom>
        </p:spPr>
      </p:pic>
      <p:sp>
        <p:nvSpPr>
          <p:cNvPr id="10" name="Slide Number Placeholder 5">
            <a:extLst>
              <a:ext uri="{FF2B5EF4-FFF2-40B4-BE49-F238E27FC236}">
                <a16:creationId xmlns:a16="http://schemas.microsoft.com/office/drawing/2014/main" id="{751932C2-B47E-164D-8378-7CABAAA1ABE3}"/>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501763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69219"/>
            <a:ext cx="4057650" cy="3263504"/>
          </a:xfrm>
        </p:spPr>
        <p:txBody>
          <a:body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FE544C97-B411-F444-ADCB-A3BBEBEAA37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601884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A56276-1702-4851-8988-90F0719B55B0}"/>
              </a:ext>
            </a:extLst>
          </p:cNvPr>
          <p:cNvGraphicFramePr>
            <a:graphicFrameLocks noChangeAspect="1"/>
          </p:cNvGraphicFramePr>
          <p:nvPr userDrawn="1">
            <p:custDataLst>
              <p:tags r:id="rId19"/>
            </p:custDataLst>
            <p:extLst>
              <p:ext uri="{D42A27DB-BD31-4B8C-83A1-F6EECF244321}">
                <p14:modId xmlns:p14="http://schemas.microsoft.com/office/powerpoint/2010/main" val="30661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6" name="Object 5" hidden="1">
                        <a:extLst>
                          <a:ext uri="{FF2B5EF4-FFF2-40B4-BE49-F238E27FC236}">
                            <a16:creationId xmlns:a16="http://schemas.microsoft.com/office/drawing/2014/main" id="{2DA56276-1702-4851-8988-90F0719B55B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5760"/>
            <a:ext cx="8229600" cy="6262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199" y="1166327"/>
            <a:ext cx="8229599" cy="336002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B95BD6C-304F-6F4F-9AFA-F523AC7C70A4}"/>
              </a:ext>
            </a:extLst>
          </p:cNvPr>
          <p:cNvSpPr/>
          <p:nvPr userDrawn="1"/>
        </p:nvSpPr>
        <p:spPr>
          <a:xfrm>
            <a:off x="0" y="0"/>
            <a:ext cx="9144000" cy="185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050AEAA-E9B2-FB44-A85F-75D7146FAACD}"/>
              </a:ext>
            </a:extLst>
          </p:cNvPr>
          <p:cNvSpPr/>
          <p:nvPr userDrawn="1"/>
        </p:nvSpPr>
        <p:spPr>
          <a:xfrm>
            <a:off x="662226" y="483778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5" name="Picture 4" descr="A picture containing clock&#10;&#10;Description automatically generated">
            <a:extLst>
              <a:ext uri="{FF2B5EF4-FFF2-40B4-BE49-F238E27FC236}">
                <a16:creationId xmlns:a16="http://schemas.microsoft.com/office/drawing/2014/main" id="{380401D8-6A50-264D-AD48-DCB690ADCB12}"/>
              </a:ext>
            </a:extLst>
          </p:cNvPr>
          <p:cNvPicPr>
            <a:picLocks noChangeAspect="1"/>
          </p:cNvPicPr>
          <p:nvPr userDrawn="1"/>
        </p:nvPicPr>
        <p:blipFill>
          <a:blip r:embed="rId22"/>
          <a:stretch>
            <a:fillRect/>
          </a:stretch>
        </p:blipFill>
        <p:spPr>
          <a:xfrm>
            <a:off x="7442162" y="4678477"/>
            <a:ext cx="1603374" cy="425385"/>
          </a:xfrm>
          <a:prstGeom prst="rect">
            <a:avLst/>
          </a:prstGeom>
        </p:spPr>
      </p:pic>
      <p:sp>
        <p:nvSpPr>
          <p:cNvPr id="9" name="Slide Number Placeholder 5">
            <a:extLst>
              <a:ext uri="{FF2B5EF4-FFF2-40B4-BE49-F238E27FC236}">
                <a16:creationId xmlns:a16="http://schemas.microsoft.com/office/drawing/2014/main" id="{95ED3AEA-2592-574C-845C-D50182E18060}"/>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Nº›</a:t>
            </a:fld>
            <a:endParaRPr lang="en-US"/>
          </a:p>
        </p:txBody>
      </p:sp>
    </p:spTree>
    <p:extLst>
      <p:ext uri="{BB962C8B-B14F-4D97-AF65-F5344CB8AC3E}">
        <p14:creationId xmlns:p14="http://schemas.microsoft.com/office/powerpoint/2010/main" val="2362245834"/>
      </p:ext>
    </p:extLst>
  </p:cSld>
  <p:clrMap bg1="lt1" tx1="dk1" bg2="lt2" tx2="dk2" accent1="accent1" accent2="accent2" accent3="accent3" accent4="accent4" accent5="accent5" accent6="accent6" hlink="hlink" folHlink="folHlink"/>
  <p:sldLayoutIdLst>
    <p:sldLayoutId id="2147483661" r:id="rId1"/>
    <p:sldLayoutId id="2147483677" r:id="rId2"/>
    <p:sldLayoutId id="2147483678" r:id="rId3"/>
    <p:sldLayoutId id="2147483662" r:id="rId4"/>
    <p:sldLayoutId id="2147483672" r:id="rId5"/>
    <p:sldLayoutId id="2147483679" r:id="rId6"/>
    <p:sldLayoutId id="2147483663" r:id="rId7"/>
    <p:sldLayoutId id="2147483676" r:id="rId8"/>
    <p:sldLayoutId id="2147483664" r:id="rId9"/>
    <p:sldLayoutId id="2147483665" r:id="rId10"/>
    <p:sldLayoutId id="2147483666" r:id="rId11"/>
    <p:sldLayoutId id="2147483667" r:id="rId12"/>
    <p:sldLayoutId id="2147483675" r:id="rId13"/>
    <p:sldLayoutId id="2147483668" r:id="rId14"/>
    <p:sldLayoutId id="2147483669" r:id="rId15"/>
    <p:sldLayoutId id="2147483680" r:id="rId16"/>
    <p:sldLayoutId id="2147483681" r:id="rId17"/>
  </p:sldLayoutIdLst>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accent3"/>
        </a:buClr>
        <a:buSzPct val="100000"/>
        <a:buFont typeface="Arial" panose="020B0604020202020204" pitchFamily="34" charset="0"/>
        <a:buChar char="•"/>
        <a:defRPr sz="1400" kern="1200">
          <a:solidFill>
            <a:schemeClr val="tx1"/>
          </a:solidFill>
          <a:latin typeface="+mn-lt"/>
          <a:ea typeface="+mn-ea"/>
          <a:cs typeface="+mn-cs"/>
        </a:defRPr>
      </a:lvl1pPr>
      <a:lvl2pPr marL="342900" indent="-169863" algn="l" defTabSz="685800" rtl="0" eaLnBrk="1" latinLnBrk="0" hangingPunct="1">
        <a:lnSpc>
          <a:spcPct val="90000"/>
        </a:lnSpc>
        <a:spcBef>
          <a:spcPts val="375"/>
        </a:spcBef>
        <a:buClr>
          <a:schemeClr val="tx1"/>
        </a:buClr>
        <a:buSzPct val="70000"/>
        <a:buFont typeface="Monaco" pitchFamily="2" charset="77"/>
        <a:buChar char="⎻"/>
        <a:tabLst/>
        <a:defRPr sz="1200" kern="1200">
          <a:solidFill>
            <a:schemeClr val="tx1"/>
          </a:solidFill>
          <a:latin typeface="+mn-lt"/>
          <a:ea typeface="+mn-ea"/>
          <a:cs typeface="+mn-cs"/>
        </a:defRPr>
      </a:lvl2pPr>
      <a:lvl3pPr marL="571500" indent="-168275" algn="l" defTabSz="685800" rtl="0" eaLnBrk="1" latinLnBrk="0" hangingPunct="1">
        <a:lnSpc>
          <a:spcPct val="90000"/>
        </a:lnSpc>
        <a:spcBef>
          <a:spcPts val="375"/>
        </a:spcBef>
        <a:buClr>
          <a:schemeClr val="tx1"/>
        </a:buClr>
        <a:buSzPct val="90000"/>
        <a:buFont typeface="Arial" panose="020B0604020202020204" pitchFamily="34" charset="0"/>
        <a:buChar char="•"/>
        <a:tabLst/>
        <a:defRPr sz="1200" kern="1200">
          <a:solidFill>
            <a:sysClr val="windowText" lastClr="000000"/>
          </a:solidFill>
          <a:latin typeface="+mn-lt"/>
          <a:ea typeface="+mn-ea"/>
          <a:cs typeface="+mn-cs"/>
        </a:defRPr>
      </a:lvl3pPr>
      <a:lvl4pPr marL="12001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78.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notesSlide" Target="../notesSlides/notesSlide3.xml"/><Relationship Id="rId21" Type="http://schemas.openxmlformats.org/officeDocument/2006/relationships/tags" Target="../tags/tag29.xml"/><Relationship Id="rId34" Type="http://schemas.openxmlformats.org/officeDocument/2006/relationships/tags" Target="../tags/tag42.xml"/><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41" Type="http://schemas.openxmlformats.org/officeDocument/2006/relationships/hyperlink" Target="https://mycollab.level3.com/sites/CFSHome/FBPM/Lists/CFS%20Fusion%20Test%20Environment%20Requests/AllItems.aspx" TargetMode="Externa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hyperlink" Target="mailto:fusionsupport@lumen.com"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8" Type="http://schemas.openxmlformats.org/officeDocument/2006/relationships/tags" Target="../tags/tag1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mycollab.level3.com/sites/CFSHome/FBPM/Lists/CFS%20Fusion%20Test%20Environment%20Requests/AllItems.aspx" TargetMode="External"/><Relationship Id="rId2" Type="http://schemas.openxmlformats.org/officeDocument/2006/relationships/slideLayout" Target="../slideLayouts/slideLayout17.xml"/><Relationship Id="rId1" Type="http://schemas.openxmlformats.org/officeDocument/2006/relationships/tags" Target="../tags/tag46.xml"/><Relationship Id="rId6" Type="http://schemas.openxmlformats.org/officeDocument/2006/relationships/hyperlink" Target="mailto:fusionsupport@lumen.com" TargetMode="External"/><Relationship Id="rId5" Type="http://schemas.openxmlformats.org/officeDocument/2006/relationships/image" Target="../media/image5.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 Type="http://schemas.openxmlformats.org/officeDocument/2006/relationships/tags" Target="../tags/tag49.xml"/><Relationship Id="rId21" Type="http://schemas.openxmlformats.org/officeDocument/2006/relationships/tags" Target="../tags/tag67.xml"/><Relationship Id="rId34" Type="http://schemas.openxmlformats.org/officeDocument/2006/relationships/hyperlink" Target="mailto:fusionsupport@lumen.com" TargetMode="Externa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notesSlide" Target="../notesSlides/notesSlide5.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tags" Target="../tags/tag75.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slideLayout" Target="../slideLayouts/slideLayout4.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tags" Target="../tags/tag77.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hyperlink" Target="https://mycollab.level3.com/sites/CFSHome/FBPM/Lists/CFS%20Fusion%20Test%20Environment%20Requests/AllItems.aspx" TargetMode="External"/><Relationship Id="rId8"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C434E2-64B3-4E21-BAB9-BF0C37715B70}"/>
              </a:ext>
            </a:extLst>
          </p:cNvPr>
          <p:cNvGraphicFramePr>
            <a:graphicFrameLocks noChangeAspect="1"/>
          </p:cNvGraphicFramePr>
          <p:nvPr>
            <p:custDataLst>
              <p:tags r:id="rId1"/>
            </p:custDataLst>
            <p:extLst>
              <p:ext uri="{D42A27DB-BD31-4B8C-83A1-F6EECF244321}">
                <p14:modId xmlns:p14="http://schemas.microsoft.com/office/powerpoint/2010/main" val="331970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52C434E2-64B3-4E21-BAB9-BF0C37715B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6BF9477-91F2-4E12-A14F-B6CA9178CA6C}"/>
              </a:ext>
            </a:extLst>
          </p:cNvPr>
          <p:cNvSpPr>
            <a:spLocks noGrp="1"/>
          </p:cNvSpPr>
          <p:nvPr>
            <p:ph type="title"/>
          </p:nvPr>
        </p:nvSpPr>
        <p:spPr>
          <a:xfrm>
            <a:off x="640080" y="1433686"/>
            <a:ext cx="7886700" cy="2257781"/>
          </a:xfrm>
        </p:spPr>
        <p:txBody>
          <a:bodyPr vert="horz"/>
          <a:lstStyle/>
          <a:p>
            <a:r>
              <a:rPr lang="en-US" sz="2400" dirty="0"/>
              <a:t>Resolve Billing Request - CFS</a:t>
            </a:r>
            <a:br>
              <a:rPr lang="en-US" sz="2400" dirty="0"/>
            </a:br>
            <a:r>
              <a:rPr lang="en-US" sz="2400" dirty="0"/>
              <a:t>Finance</a:t>
            </a:r>
            <a:br>
              <a:rPr lang="en-US" dirty="0"/>
            </a:br>
            <a:r>
              <a:rPr lang="en-US" dirty="0"/>
              <a:t>Operating Playbook</a:t>
            </a:r>
          </a:p>
        </p:txBody>
      </p:sp>
      <p:sp>
        <p:nvSpPr>
          <p:cNvPr id="4" name="Slide Number Placeholder 3">
            <a:extLst>
              <a:ext uri="{FF2B5EF4-FFF2-40B4-BE49-F238E27FC236}">
                <a16:creationId xmlns:a16="http://schemas.microsoft.com/office/drawing/2014/main" id="{6E898CFD-8C86-4861-8FE2-0350A0AA8D23}"/>
              </a:ext>
            </a:extLst>
          </p:cNvPr>
          <p:cNvSpPr>
            <a:spLocks noGrp="1"/>
          </p:cNvSpPr>
          <p:nvPr>
            <p:ph type="sldNum" sz="quarter" idx="4"/>
          </p:nvPr>
        </p:nvSpPr>
        <p:spPr/>
        <p:txBody>
          <a:bodyPr/>
          <a:lstStyle/>
          <a:p>
            <a:fld id="{16AF6406-B3F2-AD48-99A2-24C88CF40A2E}" type="slidenum">
              <a:rPr lang="en-US" smtClean="0"/>
              <a:pPr/>
              <a:t>1</a:t>
            </a:fld>
            <a:endParaRPr lang="en-US"/>
          </a:p>
        </p:txBody>
      </p:sp>
    </p:spTree>
    <p:extLst>
      <p:ext uri="{BB962C8B-B14F-4D97-AF65-F5344CB8AC3E}">
        <p14:creationId xmlns:p14="http://schemas.microsoft.com/office/powerpoint/2010/main" val="511105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Rodrigo de Lima Capelare</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Julie Hollenbeck</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Latam Porta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Control Cent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icket derivation between regions will no longer exist.</a:t>
            </a: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900" dirty="0">
                <a:solidFill>
                  <a:prstClr val="black"/>
                </a:solidFill>
                <a:latin typeface="+mj-lt"/>
              </a:rPr>
              <a:t>NA/LATAM teams will provide response to the customer within 48 hours of ticket creation</a:t>
            </a: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ATAM: Ana Carvajal/Héctor Cabrera/Rodrigo de Lima Capelar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 Julie Hollenbeck   </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0</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6011331"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Ticket Routing Between Regions – Latam Merged</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1" y="1301783"/>
            <a:ext cx="2657930" cy="1200329"/>
          </a:xfrm>
          <a:prstGeom prst="rect">
            <a:avLst/>
          </a:prstGeom>
          <a:noFill/>
        </p:spPr>
        <p:txBody>
          <a:bodyPr wrap="square">
            <a:spAutoFit/>
          </a:bodyPr>
          <a:lstStyle/>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Per error, Lumen customer has loaded a dispute on LATAM Portal</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Per error, Columbus customer has loaded a billing request on Corporate Portal</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BCC Analyst receives ticket, verified invoice and request to the customer to load ticket in the proper Portal (e.g. </a:t>
            </a:r>
            <a:r>
              <a:rPr lang="en-US" sz="900" b="0" i="0" dirty="0">
                <a:solidFill>
                  <a:srgbClr val="313131"/>
                </a:solidFill>
                <a:effectLst/>
                <a:latin typeface="Segoe ui" panose="020B0502040204020203" pitchFamily="34" charset="0"/>
              </a:rPr>
              <a:t>21052354)</a:t>
            </a:r>
          </a:p>
          <a:p>
            <a:pPr marL="117472" indent="-117472" defTabSz="665550">
              <a:buClr>
                <a:srgbClr val="0067B1"/>
              </a:buClr>
              <a:buFont typeface="Wingdings" panose="05000000000000000000" pitchFamily="2" charset="2"/>
              <a:buChar char="§"/>
            </a:pPr>
            <a:r>
              <a:rPr lang="en-US" sz="900" dirty="0">
                <a:solidFill>
                  <a:srgbClr val="313131"/>
                </a:solidFill>
                <a:latin typeface="Segoe ui" panose="020B0502040204020203" pitchFamily="34" charset="0"/>
              </a:rPr>
              <a:t>This a </a:t>
            </a:r>
            <a:r>
              <a:rPr lang="en-US" sz="900" b="1" dirty="0">
                <a:solidFill>
                  <a:srgbClr val="313131"/>
                </a:solidFill>
                <a:latin typeface="Segoe ui" panose="020B0502040204020203" pitchFamily="34" charset="0"/>
              </a:rPr>
              <a:t>process change </a:t>
            </a:r>
            <a:r>
              <a:rPr lang="en-US" sz="900" dirty="0">
                <a:solidFill>
                  <a:srgbClr val="313131"/>
                </a:solidFill>
                <a:latin typeface="Segoe ui" panose="020B0502040204020203" pitchFamily="34" charset="0"/>
              </a:rPr>
              <a:t>in both regions</a:t>
            </a:r>
            <a:endParaRPr lang="en-US" sz="900" dirty="0">
              <a:solidFill>
                <a:srgbClr val="000000"/>
              </a:solidFill>
              <a:latin typeface="Arial" panose="020B0604020202020204"/>
            </a:endParaRPr>
          </a:p>
        </p:txBody>
      </p:sp>
      <p:sp>
        <p:nvSpPr>
          <p:cNvPr id="44" name="TextBox 43">
            <a:extLst>
              <a:ext uri="{FF2B5EF4-FFF2-40B4-BE49-F238E27FC236}">
                <a16:creationId xmlns:a16="http://schemas.microsoft.com/office/drawing/2014/main" id="{BAAB01BB-1A36-4887-9BA4-EA88AFA174C6}"/>
              </a:ext>
            </a:extLst>
          </p:cNvPr>
          <p:cNvSpPr txBox="1"/>
          <p:nvPr/>
        </p:nvSpPr>
        <p:spPr>
          <a:xfrm>
            <a:off x="3415144" y="1431430"/>
            <a:ext cx="1156856" cy="584775"/>
          </a:xfrm>
          <a:prstGeom prst="rect">
            <a:avLst/>
          </a:prstGeom>
          <a:solidFill>
            <a:schemeClr val="bg1">
              <a:lumMod val="95000"/>
            </a:schemeClr>
          </a:solidFill>
          <a:ln>
            <a:noFill/>
          </a:ln>
        </p:spPr>
        <p:txBody>
          <a:bodyPr wrap="square" rtlCol="0" anchor="ctr">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s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5" name="TextBox 44">
            <a:extLst>
              <a:ext uri="{FF2B5EF4-FFF2-40B4-BE49-F238E27FC236}">
                <a16:creationId xmlns:a16="http://schemas.microsoft.com/office/drawing/2014/main" id="{2CDBF9DC-3716-4CB1-9583-86E89C48226D}"/>
              </a:ext>
            </a:extLst>
          </p:cNvPr>
          <p:cNvSpPr txBox="1"/>
          <p:nvPr/>
        </p:nvSpPr>
        <p:spPr>
          <a:xfrm>
            <a:off x="4752626" y="1429867"/>
            <a:ext cx="1156856" cy="584775"/>
          </a:xfrm>
          <a:prstGeom prst="rect">
            <a:avLst/>
          </a:prstGeom>
          <a:solidFill>
            <a:schemeClr val="bg1">
              <a:lumMod val="95000"/>
            </a:schemeClr>
          </a:solidFill>
          <a:ln>
            <a:noFill/>
          </a:ln>
        </p:spPr>
        <p:txBody>
          <a:bodyPr wrap="square" rtlCol="0" anchor="ctr">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Identify Error</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6" name="TextBox 45">
            <a:extLst>
              <a:ext uri="{FF2B5EF4-FFF2-40B4-BE49-F238E27FC236}">
                <a16:creationId xmlns:a16="http://schemas.microsoft.com/office/drawing/2014/main" id="{38012B40-B0BF-4FB1-B315-1AF1E84F5A4A}"/>
              </a:ext>
            </a:extLst>
          </p:cNvPr>
          <p:cNvSpPr txBox="1"/>
          <p:nvPr/>
        </p:nvSpPr>
        <p:spPr>
          <a:xfrm>
            <a:off x="6056246" y="1429867"/>
            <a:ext cx="1156856" cy="584775"/>
          </a:xfrm>
          <a:prstGeom prst="rect">
            <a:avLst/>
          </a:prstGeom>
          <a:solidFill>
            <a:schemeClr val="bg1">
              <a:lumMod val="95000"/>
            </a:schemeClr>
          </a:solidFill>
          <a:ln>
            <a:no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quest to the</a:t>
            </a: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Customer to load Ticket in the proper Portal</a:t>
            </a:r>
          </a:p>
        </p:txBody>
      </p:sp>
      <p:cxnSp>
        <p:nvCxnSpPr>
          <p:cNvPr id="47" name="Straight Arrow Connector 46">
            <a:extLst>
              <a:ext uri="{FF2B5EF4-FFF2-40B4-BE49-F238E27FC236}">
                <a16:creationId xmlns:a16="http://schemas.microsoft.com/office/drawing/2014/main" id="{F50520C6-57BD-40D7-AA50-58556C5420E4}"/>
              </a:ext>
            </a:extLst>
          </p:cNvPr>
          <p:cNvCxnSpPr>
            <a:cxnSpLocks/>
            <a:stCxn id="44" idx="3"/>
            <a:endCxn id="45" idx="1"/>
          </p:cNvCxnSpPr>
          <p:nvPr/>
        </p:nvCxnSpPr>
        <p:spPr>
          <a:xfrm flipV="1">
            <a:off x="4572000" y="1722255"/>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5909482" y="1722255"/>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45">
            <a:extLst>
              <a:ext uri="{FF2B5EF4-FFF2-40B4-BE49-F238E27FC236}">
                <a16:creationId xmlns:a16="http://schemas.microsoft.com/office/drawing/2014/main" id="{6A2CD731-851B-4170-828B-5DDD01CFD185}"/>
              </a:ext>
            </a:extLst>
          </p:cNvPr>
          <p:cNvSpPr txBox="1"/>
          <p:nvPr/>
        </p:nvSpPr>
        <p:spPr>
          <a:xfrm>
            <a:off x="7359866" y="1429867"/>
            <a:ext cx="1156856" cy="584775"/>
          </a:xfrm>
          <a:prstGeom prst="rect">
            <a:avLst/>
          </a:prstGeom>
          <a:solidFill>
            <a:schemeClr val="bg1">
              <a:lumMod val="95000"/>
            </a:schemeClr>
          </a:solidFill>
          <a:ln>
            <a:noFill/>
          </a:ln>
        </p:spPr>
        <p:txBody>
          <a:bodyPr wrap="square" rtlCol="0" anchor="ctr">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38" name="Straight Arrow Connector 49">
            <a:extLst>
              <a:ext uri="{FF2B5EF4-FFF2-40B4-BE49-F238E27FC236}">
                <a16:creationId xmlns:a16="http://schemas.microsoft.com/office/drawing/2014/main" id="{82653661-FA00-455E-AC19-DCF889BD08A5}"/>
              </a:ext>
            </a:extLst>
          </p:cNvPr>
          <p:cNvCxnSpPr>
            <a:cxnSpLocks/>
            <a:stCxn id="46" idx="3"/>
            <a:endCxn id="37" idx="1"/>
          </p:cNvCxnSpPr>
          <p:nvPr/>
        </p:nvCxnSpPr>
        <p:spPr>
          <a:xfrm>
            <a:off x="7213102" y="1722255"/>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6376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Nathan Watkins</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rPr>
              <a:t>Mexico</a:t>
            </a:r>
            <a:r>
              <a:rPr lang="es-AR" sz="900" dirty="0">
                <a:solidFill>
                  <a:srgbClr val="000000"/>
                </a:solidFill>
                <a:latin typeface="Arial" panose="020B0604020202020204"/>
              </a:rPr>
              <a:t>, Panamá, Costa Rica, ETL </a:t>
            </a:r>
            <a:r>
              <a:rPr lang="es-AR" sz="900" dirty="0" err="1">
                <a:solidFill>
                  <a:srgbClr val="000000"/>
                </a:solidFill>
                <a:latin typeface="Arial" panose="020B0604020202020204"/>
              </a:rPr>
              <a:t>calculation</a:t>
            </a:r>
            <a:r>
              <a:rPr lang="es-AR" sz="900" dirty="0">
                <a:solidFill>
                  <a:srgbClr val="000000"/>
                </a:solidFill>
                <a:latin typeface="Arial" panose="020B0604020202020204"/>
              </a:rPr>
              <a:t> </a:t>
            </a:r>
            <a:r>
              <a:rPr lang="es-AR" sz="900" dirty="0" err="1">
                <a:solidFill>
                  <a:srgbClr val="000000"/>
                </a:solidFill>
                <a:latin typeface="Arial" panose="020B0604020202020204"/>
              </a:rPr>
              <a:t>is</a:t>
            </a:r>
            <a:r>
              <a:rPr lang="es-AR" sz="900" dirty="0">
                <a:solidFill>
                  <a:srgbClr val="000000"/>
                </a:solidFill>
                <a:latin typeface="Arial" panose="020B0604020202020204"/>
              </a:rPr>
              <a:t> </a:t>
            </a:r>
            <a:r>
              <a:rPr lang="es-AR" sz="900" dirty="0" err="1">
                <a:solidFill>
                  <a:srgbClr val="000000"/>
                </a:solidFill>
                <a:latin typeface="Arial" panose="020B0604020202020204"/>
              </a:rPr>
              <a:t>performed</a:t>
            </a:r>
            <a:r>
              <a:rPr lang="es-AR" sz="900" dirty="0">
                <a:solidFill>
                  <a:srgbClr val="000000"/>
                </a:solidFill>
                <a:latin typeface="Arial" panose="020B0604020202020204"/>
              </a:rPr>
              <a:t> </a:t>
            </a:r>
            <a:r>
              <a:rPr lang="es-AR" sz="900" dirty="0" err="1">
                <a:solidFill>
                  <a:srgbClr val="000000"/>
                </a:solidFill>
                <a:latin typeface="Arial" panose="020B0604020202020204"/>
              </a:rPr>
              <a:t>by</a:t>
            </a:r>
            <a:r>
              <a:rPr lang="es-AR" sz="900" dirty="0">
                <a:solidFill>
                  <a:srgbClr val="000000"/>
                </a:solidFill>
                <a:latin typeface="Arial" panose="020B0604020202020204"/>
              </a:rPr>
              <a:t> NA Revenue Assurance </a:t>
            </a:r>
          </a:p>
          <a:p>
            <a:pPr marL="117472" indent="-117472" defTabSz="665550">
              <a:lnSpc>
                <a:spcPct val="80000"/>
              </a:lnSpc>
              <a:spcBef>
                <a:spcPts val="0"/>
              </a:spcBef>
              <a:buClr>
                <a:srgbClr val="0067B1"/>
              </a:buClr>
              <a:buSzPct val="100000"/>
              <a:buFont typeface="Wingdings" panose="05000000000000000000" pitchFamily="2" charset="2"/>
              <a:buChar char="§"/>
              <a:defRPr/>
            </a:pP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ubcase Resolution: </a:t>
            </a:r>
            <a:r>
              <a:rPr lang="en-US" sz="900" dirty="0">
                <a:solidFill>
                  <a:srgbClr val="000000"/>
                </a:solidFill>
                <a:highlight>
                  <a:srgbClr val="FFFF00"/>
                </a:highlight>
                <a:latin typeface="Arial" panose="020B0604020202020204"/>
                <a:cs typeface="+mn-cs"/>
              </a:rPr>
              <a:t>TBC by NA</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Nathan Watkin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1</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6620931"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ETL´s disputes research for MX,PN,CR and St. Croix</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01783"/>
            <a:ext cx="3053831" cy="1338828"/>
          </a:xfrm>
          <a:prstGeom prst="rect">
            <a:avLst/>
          </a:prstGeom>
          <a:noFill/>
        </p:spPr>
        <p:txBody>
          <a:bodyPr wrap="square">
            <a:spAutoFit/>
          </a:bodyPr>
          <a:lstStyle/>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is making research on a ETL Billing Request, for</a:t>
            </a:r>
            <a:r>
              <a:rPr lang="en-US" sz="900" dirty="0">
                <a:solidFill>
                  <a:srgbClr val="000000"/>
                </a:solidFill>
              </a:rPr>
              <a:t> Mexico, Panamá, Costa Rica, St Croix</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creates a Subcase and dispatch to “Early Term liability “ Queue</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Revenue Assurance NA Analyst makes ETL research and approve/denied as correspond</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generates Credit and close ticket</a:t>
            </a:r>
          </a:p>
        </p:txBody>
      </p:sp>
      <p:sp>
        <p:nvSpPr>
          <p:cNvPr id="44" name="TextBox 43">
            <a:extLst>
              <a:ext uri="{FF2B5EF4-FFF2-40B4-BE49-F238E27FC236}">
                <a16:creationId xmlns:a16="http://schemas.microsoft.com/office/drawing/2014/main" id="{BAAB01BB-1A36-4887-9BA4-EA88AFA174C6}"/>
              </a:ext>
            </a:extLst>
          </p:cNvPr>
          <p:cNvSpPr txBox="1"/>
          <p:nvPr/>
        </p:nvSpPr>
        <p:spPr>
          <a:xfrm>
            <a:off x="3399633" y="1781321"/>
            <a:ext cx="1156856" cy="215444"/>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45" name="TextBox 44">
            <a:extLst>
              <a:ext uri="{FF2B5EF4-FFF2-40B4-BE49-F238E27FC236}">
                <a16:creationId xmlns:a16="http://schemas.microsoft.com/office/drawing/2014/main" id="{2CDBF9DC-3716-4CB1-9583-86E89C48226D}"/>
              </a:ext>
            </a:extLst>
          </p:cNvPr>
          <p:cNvSpPr txBox="1"/>
          <p:nvPr/>
        </p:nvSpPr>
        <p:spPr>
          <a:xfrm>
            <a:off x="473711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sp>
        <p:nvSpPr>
          <p:cNvPr id="46" name="TextBox 45">
            <a:extLst>
              <a:ext uri="{FF2B5EF4-FFF2-40B4-BE49-F238E27FC236}">
                <a16:creationId xmlns:a16="http://schemas.microsoft.com/office/drawing/2014/main" id="{38012B40-B0BF-4FB1-B315-1AF1E84F5A4A}"/>
              </a:ext>
            </a:extLst>
          </p:cNvPr>
          <p:cNvSpPr txBox="1"/>
          <p:nvPr/>
        </p:nvSpPr>
        <p:spPr>
          <a:xfrm>
            <a:off x="604073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olve Request</a:t>
            </a:r>
          </a:p>
        </p:txBody>
      </p:sp>
      <p:cxnSp>
        <p:nvCxnSpPr>
          <p:cNvPr id="47" name="Straight Arrow Connector 46">
            <a:extLst>
              <a:ext uri="{FF2B5EF4-FFF2-40B4-BE49-F238E27FC236}">
                <a16:creationId xmlns:a16="http://schemas.microsoft.com/office/drawing/2014/main" id="{F50520C6-57BD-40D7-AA50-58556C5420E4}"/>
              </a:ext>
            </a:extLst>
          </p:cNvPr>
          <p:cNvCxnSpPr>
            <a:cxnSpLocks/>
            <a:stCxn id="44" idx="3"/>
            <a:endCxn id="45" idx="1"/>
          </p:cNvCxnSpPr>
          <p:nvPr/>
        </p:nvCxnSpPr>
        <p:spPr>
          <a:xfrm flipV="1">
            <a:off x="4556489" y="1887480"/>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589397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D340258-1989-4BE5-AAD4-0FE30AFB94EF}"/>
              </a:ext>
            </a:extLst>
          </p:cNvPr>
          <p:cNvSpPr/>
          <p:nvPr/>
        </p:nvSpPr>
        <p:spPr>
          <a:xfrm>
            <a:off x="525216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531451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55" name="Oval 54">
            <a:extLst>
              <a:ext uri="{FF2B5EF4-FFF2-40B4-BE49-F238E27FC236}">
                <a16:creationId xmlns:a16="http://schemas.microsoft.com/office/drawing/2014/main" id="{FBF08FD3-136E-4631-95FC-EC60E3ECBEF8}"/>
              </a:ext>
            </a:extLst>
          </p:cNvPr>
          <p:cNvSpPr/>
          <p:nvPr/>
        </p:nvSpPr>
        <p:spPr>
          <a:xfrm>
            <a:off x="6228935"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6298070" y="2269067"/>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37" name="TextBox 45">
            <a:extLst>
              <a:ext uri="{FF2B5EF4-FFF2-40B4-BE49-F238E27FC236}">
                <a16:creationId xmlns:a16="http://schemas.microsoft.com/office/drawing/2014/main" id="{6A2CD731-851B-4170-828B-5DDD01CFD185}"/>
              </a:ext>
            </a:extLst>
          </p:cNvPr>
          <p:cNvSpPr txBox="1"/>
          <p:nvPr/>
        </p:nvSpPr>
        <p:spPr>
          <a:xfrm>
            <a:off x="734435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38" name="Straight Arrow Connector 49">
            <a:extLst>
              <a:ext uri="{FF2B5EF4-FFF2-40B4-BE49-F238E27FC236}">
                <a16:creationId xmlns:a16="http://schemas.microsoft.com/office/drawing/2014/main" id="{82653661-FA00-455E-AC19-DCF889BD08A5}"/>
              </a:ext>
            </a:extLst>
          </p:cNvPr>
          <p:cNvCxnSpPr>
            <a:cxnSpLocks/>
            <a:stCxn id="46" idx="3"/>
            <a:endCxn id="37" idx="1"/>
          </p:cNvCxnSpPr>
          <p:nvPr/>
        </p:nvCxnSpPr>
        <p:spPr>
          <a:xfrm>
            <a:off x="719759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40">
            <a:extLst>
              <a:ext uri="{FF2B5EF4-FFF2-40B4-BE49-F238E27FC236}">
                <a16:creationId xmlns:a16="http://schemas.microsoft.com/office/drawing/2014/main" id="{FC8B88BA-6625-4DD9-BD92-00790E085F10}"/>
              </a:ext>
            </a:extLst>
          </p:cNvPr>
          <p:cNvSpPr txBox="1"/>
          <p:nvPr/>
        </p:nvSpPr>
        <p:spPr>
          <a:xfrm>
            <a:off x="3376438" y="2026784"/>
            <a:ext cx="2445410" cy="797591"/>
          </a:xfrm>
          <a:prstGeom prst="rect">
            <a:avLst/>
          </a:prstGeom>
          <a:noFill/>
        </p:spPr>
        <p:txBody>
          <a:bodyPr wrap="square">
            <a:spAutoFit/>
          </a:bodyPr>
          <a:lstStyle/>
          <a:p>
            <a:pPr defTabSz="665550">
              <a:lnSpc>
                <a:spcPct val="70000"/>
              </a:lnSpc>
              <a:buClr>
                <a:srgbClr val="0067B1"/>
              </a:buClr>
            </a:pPr>
            <a:r>
              <a:rPr lang="en-US" sz="700" b="1" dirty="0">
                <a:solidFill>
                  <a:srgbClr val="000000"/>
                </a:solidFill>
                <a:latin typeface="Arial" panose="020B0604020202020204"/>
              </a:rPr>
              <a:t>Requests Type</a:t>
            </a:r>
          </a:p>
          <a:p>
            <a:pPr marL="128588" indent="-128588">
              <a:lnSpc>
                <a:spcPct val="70000"/>
              </a:lnSpc>
              <a:spcBef>
                <a:spcPts val="300"/>
              </a:spcBef>
              <a:buFont typeface="Arial" panose="020B0604020202020204" pitchFamily="34" charset="0"/>
              <a:buChar char="•"/>
            </a:pPr>
            <a:r>
              <a:rPr lang="es-AR" sz="700" dirty="0" err="1"/>
              <a:t>Incidents</a:t>
            </a:r>
            <a:r>
              <a:rPr lang="es-AR" sz="700" dirty="0"/>
              <a:t> </a:t>
            </a:r>
          </a:p>
          <a:p>
            <a:pPr marL="128588" indent="-128588">
              <a:lnSpc>
                <a:spcPct val="70000"/>
              </a:lnSpc>
              <a:spcBef>
                <a:spcPts val="300"/>
              </a:spcBef>
              <a:buFont typeface="Arial" panose="020B0604020202020204" pitchFamily="34" charset="0"/>
              <a:buChar char="•"/>
            </a:pPr>
            <a:r>
              <a:rPr lang="es-AR" sz="700" dirty="0"/>
              <a:t>Access Request</a:t>
            </a:r>
          </a:p>
          <a:p>
            <a:pPr marL="128588" indent="-128588">
              <a:lnSpc>
                <a:spcPct val="70000"/>
              </a:lnSpc>
              <a:spcBef>
                <a:spcPts val="300"/>
              </a:spcBef>
              <a:buFont typeface="Arial" panose="020B0604020202020204" pitchFamily="34" charset="0"/>
              <a:buChar char="•"/>
            </a:pPr>
            <a:r>
              <a:rPr lang="es-AR" sz="700" dirty="0" err="1"/>
              <a:t>Queue</a:t>
            </a:r>
            <a:r>
              <a:rPr lang="es-AR" sz="700" dirty="0"/>
              <a:t> </a:t>
            </a:r>
            <a:r>
              <a:rPr lang="es-AR" sz="700" dirty="0" err="1"/>
              <a:t>Creation</a:t>
            </a:r>
            <a:r>
              <a:rPr lang="es-AR" sz="700" dirty="0"/>
              <a:t> </a:t>
            </a:r>
            <a:r>
              <a:rPr lang="es-AR" sz="700" dirty="0" err="1"/>
              <a:t>Requests</a:t>
            </a:r>
            <a:endParaRPr lang="es-AR" sz="700" dirty="0"/>
          </a:p>
          <a:p>
            <a:pPr marL="128588" indent="-128588">
              <a:lnSpc>
                <a:spcPct val="70000"/>
              </a:lnSpc>
              <a:spcBef>
                <a:spcPts val="300"/>
              </a:spcBef>
              <a:buFont typeface="Arial" panose="020B0604020202020204" pitchFamily="34" charset="0"/>
              <a:buChar char="•"/>
            </a:pPr>
            <a:r>
              <a:rPr lang="es-AR" sz="700" dirty="0"/>
              <a:t>Test </a:t>
            </a:r>
            <a:r>
              <a:rPr lang="es-AR" sz="700" dirty="0" err="1"/>
              <a:t>Enviroment</a:t>
            </a:r>
            <a:r>
              <a:rPr lang="es-AR" sz="700" dirty="0"/>
              <a:t> </a:t>
            </a:r>
            <a:r>
              <a:rPr lang="es-AR" sz="700" dirty="0" err="1"/>
              <a:t>Requests</a:t>
            </a:r>
            <a:endParaRPr lang="es-AR" sz="700" dirty="0"/>
          </a:p>
          <a:p>
            <a:pPr defTabSz="665550">
              <a:lnSpc>
                <a:spcPct val="70000"/>
              </a:lnSpc>
              <a:buClr>
                <a:srgbClr val="0067B1"/>
              </a:buClr>
            </a:pPr>
            <a:endParaRPr lang="en-US" sz="700" b="1" dirty="0">
              <a:solidFill>
                <a:srgbClr val="000000"/>
              </a:solidFill>
              <a:latin typeface="Arial" panose="020B0604020202020204"/>
            </a:endParaRPr>
          </a:p>
          <a:p>
            <a:pPr marL="117472" indent="-117472" defTabSz="665550">
              <a:lnSpc>
                <a:spcPct val="70000"/>
              </a:lnSpc>
              <a:buClr>
                <a:srgbClr val="0067B1"/>
              </a:buClr>
              <a:buFont typeface="Wingdings" panose="05000000000000000000" pitchFamily="2" charset="2"/>
              <a:buChar char="§"/>
            </a:pPr>
            <a:endParaRPr lang="en-US" sz="900" dirty="0">
              <a:solidFill>
                <a:srgbClr val="000000"/>
              </a:solidFill>
              <a:latin typeface="Arial" panose="020B0604020202020204"/>
            </a:endParaRPr>
          </a:p>
        </p:txBody>
      </p:sp>
    </p:spTree>
    <p:extLst>
      <p:ext uri="{BB962C8B-B14F-4D97-AF65-F5344CB8AC3E}">
        <p14:creationId xmlns:p14="http://schemas.microsoft.com/office/powerpoint/2010/main" val="1200291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Nathan Watkins</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BAC</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err="1">
                <a:solidFill>
                  <a:srgbClr val="000000"/>
                </a:solidFill>
                <a:latin typeface="Arial" panose="020B0604020202020204"/>
                <a:cs typeface="+mn-cs"/>
              </a:rPr>
              <a:t>Tie</a:t>
            </a:r>
            <a:r>
              <a:rPr lang="pt-BR" sz="900" dirty="0">
                <a:solidFill>
                  <a:srgbClr val="000000"/>
                </a:solidFill>
                <a:latin typeface="Arial" panose="020B0604020202020204"/>
                <a:cs typeface="+mn-cs"/>
              </a:rPr>
              <a:t> </a:t>
            </a:r>
            <a:r>
              <a:rPr lang="pt-BR" sz="900" dirty="0" err="1">
                <a:solidFill>
                  <a:srgbClr val="000000"/>
                </a:solidFill>
                <a:latin typeface="Arial" panose="020B0604020202020204"/>
                <a:cs typeface="+mn-cs"/>
              </a:rPr>
              <a:t>Code</a:t>
            </a:r>
            <a:r>
              <a:rPr lang="pt-BR" sz="900" dirty="0">
                <a:solidFill>
                  <a:srgbClr val="000000"/>
                </a:solidFill>
                <a:latin typeface="Arial" panose="020B0604020202020204"/>
                <a:cs typeface="+mn-cs"/>
              </a:rPr>
              <a:t> Tool</a:t>
            </a: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Research</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n</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ax</a:t>
            </a:r>
            <a:r>
              <a:rPr lang="es-AR" sz="900" dirty="0">
                <a:solidFill>
                  <a:srgbClr val="000000"/>
                </a:solidFill>
                <a:latin typeface="Arial" panose="020B0604020202020204"/>
                <a:cs typeface="+mn-cs"/>
              </a:rPr>
              <a:t> Billing </a:t>
            </a:r>
            <a:r>
              <a:rPr lang="es-AR" sz="900" dirty="0" err="1">
                <a:solidFill>
                  <a:srgbClr val="000000"/>
                </a:solidFill>
                <a:latin typeface="Arial" panose="020B0604020202020204"/>
                <a:cs typeface="+mn-cs"/>
              </a:rPr>
              <a:t>request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for</a:t>
            </a:r>
            <a:r>
              <a:rPr lang="es-AR" sz="900" dirty="0">
                <a:solidFill>
                  <a:srgbClr val="000000"/>
                </a:solidFill>
                <a:latin typeface="Arial" panose="020B0604020202020204"/>
                <a:cs typeface="+mn-cs"/>
              </a:rPr>
              <a:t> Miami </a:t>
            </a:r>
            <a:r>
              <a:rPr lang="es-AR" sz="900" dirty="0" err="1">
                <a:solidFill>
                  <a:srgbClr val="000000"/>
                </a:solidFill>
                <a:latin typeface="Arial" panose="020B0604020202020204"/>
                <a:cs typeface="+mn-cs"/>
              </a:rPr>
              <a:t>entities</a:t>
            </a:r>
            <a:r>
              <a:rPr lang="es-AR" sz="900" dirty="0">
                <a:solidFill>
                  <a:srgbClr val="000000"/>
                </a:solidFill>
                <a:latin typeface="Arial" panose="020B0604020202020204"/>
                <a:cs typeface="+mn-cs"/>
              </a:rPr>
              <a:t> are </a:t>
            </a:r>
            <a:r>
              <a:rPr lang="es-AR" sz="900" dirty="0" err="1">
                <a:solidFill>
                  <a:srgbClr val="000000"/>
                </a:solidFill>
                <a:latin typeface="Arial" panose="020B0604020202020204"/>
                <a:cs typeface="+mn-cs"/>
              </a:rPr>
              <a:t>being</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perform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by</a:t>
            </a:r>
            <a:r>
              <a:rPr lang="es-AR" sz="900" dirty="0">
                <a:solidFill>
                  <a:srgbClr val="000000"/>
                </a:solidFill>
                <a:latin typeface="Arial" panose="020B0604020202020204"/>
                <a:cs typeface="+mn-cs"/>
              </a:rPr>
              <a:t> Latam </a:t>
            </a:r>
            <a:r>
              <a:rPr lang="es-AR" sz="900" dirty="0" err="1">
                <a:solidFill>
                  <a:srgbClr val="000000"/>
                </a:solidFill>
                <a:latin typeface="Arial" panose="020B0604020202020204"/>
                <a:cs typeface="+mn-cs"/>
              </a:rPr>
              <a:t>Tax</a:t>
            </a:r>
            <a:r>
              <a:rPr lang="es-AR" sz="900" dirty="0">
                <a:solidFill>
                  <a:srgbClr val="000000"/>
                </a:solidFill>
                <a:latin typeface="Arial" panose="020B0604020202020204"/>
                <a:cs typeface="+mn-cs"/>
              </a:rPr>
              <a:t> Team</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Update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f</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forms</a:t>
            </a:r>
            <a:r>
              <a:rPr lang="es-AR" sz="900" dirty="0">
                <a:solidFill>
                  <a:srgbClr val="000000"/>
                </a:solidFill>
                <a:latin typeface="Arial" panose="020B0604020202020204"/>
                <a:cs typeface="+mn-cs"/>
              </a:rPr>
              <a:t> W8 and W9 Will be </a:t>
            </a:r>
            <a:r>
              <a:rPr lang="es-AR" sz="900" dirty="0" err="1">
                <a:solidFill>
                  <a:srgbClr val="000000"/>
                </a:solidFill>
                <a:latin typeface="Arial" panose="020B0604020202020204"/>
                <a:cs typeface="+mn-cs"/>
              </a:rPr>
              <a:t>perform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by</a:t>
            </a:r>
            <a:r>
              <a:rPr lang="es-AR" sz="900" dirty="0">
                <a:solidFill>
                  <a:srgbClr val="000000"/>
                </a:solidFill>
                <a:latin typeface="Arial" panose="020B0604020202020204"/>
                <a:cs typeface="+mn-cs"/>
              </a:rPr>
              <a:t> Latam </a:t>
            </a:r>
            <a:r>
              <a:rPr lang="es-AR" sz="900" dirty="0" err="1">
                <a:solidFill>
                  <a:srgbClr val="000000"/>
                </a:solidFill>
                <a:latin typeface="Arial" panose="020B0604020202020204"/>
                <a:cs typeface="+mn-cs"/>
              </a:rPr>
              <a:t>Tax</a:t>
            </a:r>
            <a:r>
              <a:rPr lang="es-AR" sz="900" dirty="0">
                <a:solidFill>
                  <a:srgbClr val="000000"/>
                </a:solidFill>
                <a:latin typeface="Arial" panose="020B0604020202020204"/>
                <a:cs typeface="+mn-cs"/>
              </a:rPr>
              <a:t> Team</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rPr>
              <a:t>Mexico</a:t>
            </a:r>
            <a:r>
              <a:rPr lang="es-AR" sz="900" dirty="0">
                <a:solidFill>
                  <a:srgbClr val="000000"/>
                </a:solidFill>
                <a:latin typeface="Arial" panose="020B0604020202020204"/>
              </a:rPr>
              <a:t>, Panamá, Costa Rica, ETL </a:t>
            </a:r>
            <a:r>
              <a:rPr lang="es-AR" sz="900" dirty="0" err="1">
                <a:solidFill>
                  <a:srgbClr val="000000"/>
                </a:solidFill>
                <a:latin typeface="Arial" panose="020B0604020202020204"/>
              </a:rPr>
              <a:t>calculation</a:t>
            </a:r>
            <a:r>
              <a:rPr lang="es-AR" sz="900" dirty="0">
                <a:solidFill>
                  <a:srgbClr val="000000"/>
                </a:solidFill>
                <a:latin typeface="Arial" panose="020B0604020202020204"/>
              </a:rPr>
              <a:t> </a:t>
            </a:r>
            <a:r>
              <a:rPr lang="es-AR" sz="900" dirty="0" err="1">
                <a:solidFill>
                  <a:srgbClr val="000000"/>
                </a:solidFill>
                <a:latin typeface="Arial" panose="020B0604020202020204"/>
              </a:rPr>
              <a:t>is</a:t>
            </a:r>
            <a:r>
              <a:rPr lang="es-AR" sz="900" dirty="0">
                <a:solidFill>
                  <a:srgbClr val="000000"/>
                </a:solidFill>
                <a:latin typeface="Arial" panose="020B0604020202020204"/>
              </a:rPr>
              <a:t> </a:t>
            </a:r>
            <a:r>
              <a:rPr lang="es-AR" sz="900" dirty="0" err="1">
                <a:solidFill>
                  <a:srgbClr val="000000"/>
                </a:solidFill>
                <a:latin typeface="Arial" panose="020B0604020202020204"/>
              </a:rPr>
              <a:t>performed</a:t>
            </a:r>
            <a:r>
              <a:rPr lang="es-AR" sz="900" dirty="0">
                <a:solidFill>
                  <a:srgbClr val="000000"/>
                </a:solidFill>
                <a:latin typeface="Arial" panose="020B0604020202020204"/>
              </a:rPr>
              <a:t> </a:t>
            </a:r>
            <a:r>
              <a:rPr lang="es-AR" sz="900" dirty="0" err="1">
                <a:solidFill>
                  <a:srgbClr val="000000"/>
                </a:solidFill>
                <a:latin typeface="Arial" panose="020B0604020202020204"/>
              </a:rPr>
              <a:t>by</a:t>
            </a:r>
            <a:r>
              <a:rPr lang="es-AR" sz="900" dirty="0">
                <a:solidFill>
                  <a:srgbClr val="000000"/>
                </a:solidFill>
                <a:latin typeface="Arial" panose="020B0604020202020204"/>
              </a:rPr>
              <a:t> NA Revenue Assurance </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Current</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payment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for</a:t>
            </a:r>
            <a:r>
              <a:rPr lang="es-AR" sz="900" dirty="0">
                <a:solidFill>
                  <a:srgbClr val="000000"/>
                </a:solidFill>
                <a:latin typeface="Arial" panose="020B0604020202020204"/>
                <a:cs typeface="+mn-cs"/>
              </a:rPr>
              <a:t> 7 </a:t>
            </a:r>
            <a:r>
              <a:rPr lang="es-AR" sz="900" dirty="0" err="1">
                <a:solidFill>
                  <a:srgbClr val="000000"/>
                </a:solidFill>
                <a:latin typeface="Arial" panose="020B0604020202020204"/>
                <a:cs typeface="+mn-cs"/>
              </a:rPr>
              <a:t>customer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at</a:t>
            </a:r>
            <a:r>
              <a:rPr lang="es-AR" sz="900" dirty="0">
                <a:solidFill>
                  <a:srgbClr val="000000"/>
                </a:solidFill>
                <a:latin typeface="Arial" panose="020B0604020202020204"/>
                <a:cs typeface="+mn-cs"/>
              </a:rPr>
              <a:t> are </a:t>
            </a:r>
            <a:r>
              <a:rPr lang="es-AR" sz="900" dirty="0" err="1">
                <a:solidFill>
                  <a:srgbClr val="000000"/>
                </a:solidFill>
                <a:latin typeface="Arial" panose="020B0604020202020204"/>
                <a:cs typeface="+mn-cs"/>
              </a:rPr>
              <a:t>receiv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by</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check</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n</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Dever</a:t>
            </a:r>
            <a:r>
              <a:rPr lang="es-AR" sz="900" dirty="0">
                <a:solidFill>
                  <a:srgbClr val="000000"/>
                </a:solidFill>
                <a:latin typeface="Arial" panose="020B0604020202020204"/>
                <a:cs typeface="+mn-cs"/>
              </a:rPr>
              <a:t>, Will be </a:t>
            </a:r>
            <a:r>
              <a:rPr lang="es-AR" sz="900" dirty="0" err="1">
                <a:solidFill>
                  <a:srgbClr val="000000"/>
                </a:solidFill>
                <a:latin typeface="Arial" panose="020B0604020202020204"/>
                <a:cs typeface="+mn-cs"/>
              </a:rPr>
              <a:t>receiv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n</a:t>
            </a:r>
            <a:r>
              <a:rPr lang="es-AR" sz="900" dirty="0">
                <a:solidFill>
                  <a:srgbClr val="000000"/>
                </a:solidFill>
                <a:latin typeface="Arial" panose="020B0604020202020204"/>
                <a:cs typeface="+mn-cs"/>
              </a:rPr>
              <a:t> Miami</a:t>
            </a:r>
          </a:p>
          <a:p>
            <a:pPr marL="117472" indent="-117472" defTabSz="665550">
              <a:lnSpc>
                <a:spcPct val="80000"/>
              </a:lnSpc>
              <a:spcBef>
                <a:spcPts val="0"/>
              </a:spcBef>
              <a:buClr>
                <a:srgbClr val="0067B1"/>
              </a:buClr>
              <a:buSzPct val="100000"/>
              <a:buFont typeface="Wingdings" panose="05000000000000000000" pitchFamily="2" charset="2"/>
              <a:buChar char="§"/>
              <a:defRPr/>
            </a:pP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ubcase Resolution: </a:t>
            </a:r>
            <a:r>
              <a:rPr lang="en-US" sz="900" dirty="0">
                <a:solidFill>
                  <a:srgbClr val="000000"/>
                </a:solidFill>
                <a:highlight>
                  <a:srgbClr val="FFFF00"/>
                </a:highlight>
                <a:latin typeface="Arial" panose="020B0604020202020204"/>
                <a:cs typeface="+mn-cs"/>
              </a:rPr>
              <a:t>TBC by NA</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Nathan Watkin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2</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6620931"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ETL´s disputes research for MX,PN,CR and St. Croix</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01783"/>
            <a:ext cx="3053831" cy="1338828"/>
          </a:xfrm>
          <a:prstGeom prst="rect">
            <a:avLst/>
          </a:prstGeom>
          <a:noFill/>
        </p:spPr>
        <p:txBody>
          <a:bodyPr wrap="square">
            <a:spAutoFit/>
          </a:bodyPr>
          <a:lstStyle/>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is making research on a ETL Billing Request, for</a:t>
            </a:r>
            <a:r>
              <a:rPr lang="en-US" sz="900" dirty="0">
                <a:solidFill>
                  <a:srgbClr val="000000"/>
                </a:solidFill>
              </a:rPr>
              <a:t> Mexico, Panamá, Costa Rica, St Croix</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creates a Subcase and dispatch to “Early Term liability “ Queue</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Revenue Assurance NA Analyst makes ETL research and approve/denied as correspond</a:t>
            </a:r>
          </a:p>
          <a:p>
            <a:pPr marL="171450" indent="-171450" defTabSz="665550">
              <a:buClr>
                <a:srgbClr val="0067B1"/>
              </a:buClr>
              <a:buFont typeface="Arial" panose="020B0604020202020204" pitchFamily="34" charset="0"/>
              <a:buChar char="•"/>
            </a:pPr>
            <a:r>
              <a:rPr lang="en-US" sz="900" dirty="0">
                <a:solidFill>
                  <a:srgbClr val="000000"/>
                </a:solidFill>
                <a:latin typeface="Arial" panose="020B0604020202020204"/>
              </a:rPr>
              <a:t>Latam Billing Coordinator generates Credit and close ticket</a:t>
            </a:r>
          </a:p>
        </p:txBody>
      </p:sp>
      <p:sp>
        <p:nvSpPr>
          <p:cNvPr id="44" name="TextBox 43">
            <a:extLst>
              <a:ext uri="{FF2B5EF4-FFF2-40B4-BE49-F238E27FC236}">
                <a16:creationId xmlns:a16="http://schemas.microsoft.com/office/drawing/2014/main" id="{BAAB01BB-1A36-4887-9BA4-EA88AFA174C6}"/>
              </a:ext>
            </a:extLst>
          </p:cNvPr>
          <p:cNvSpPr txBox="1"/>
          <p:nvPr/>
        </p:nvSpPr>
        <p:spPr>
          <a:xfrm>
            <a:off x="3399633" y="1781321"/>
            <a:ext cx="1156856" cy="215444"/>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45" name="TextBox 44">
            <a:extLst>
              <a:ext uri="{FF2B5EF4-FFF2-40B4-BE49-F238E27FC236}">
                <a16:creationId xmlns:a16="http://schemas.microsoft.com/office/drawing/2014/main" id="{2CDBF9DC-3716-4CB1-9583-86E89C48226D}"/>
              </a:ext>
            </a:extLst>
          </p:cNvPr>
          <p:cNvSpPr txBox="1"/>
          <p:nvPr/>
        </p:nvSpPr>
        <p:spPr>
          <a:xfrm>
            <a:off x="473711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sp>
        <p:nvSpPr>
          <p:cNvPr id="46" name="TextBox 45">
            <a:extLst>
              <a:ext uri="{FF2B5EF4-FFF2-40B4-BE49-F238E27FC236}">
                <a16:creationId xmlns:a16="http://schemas.microsoft.com/office/drawing/2014/main" id="{38012B40-B0BF-4FB1-B315-1AF1E84F5A4A}"/>
              </a:ext>
            </a:extLst>
          </p:cNvPr>
          <p:cNvSpPr txBox="1"/>
          <p:nvPr/>
        </p:nvSpPr>
        <p:spPr>
          <a:xfrm>
            <a:off x="604073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olve Request</a:t>
            </a:r>
          </a:p>
        </p:txBody>
      </p:sp>
      <p:cxnSp>
        <p:nvCxnSpPr>
          <p:cNvPr id="47" name="Straight Arrow Connector 46">
            <a:extLst>
              <a:ext uri="{FF2B5EF4-FFF2-40B4-BE49-F238E27FC236}">
                <a16:creationId xmlns:a16="http://schemas.microsoft.com/office/drawing/2014/main" id="{F50520C6-57BD-40D7-AA50-58556C5420E4}"/>
              </a:ext>
            </a:extLst>
          </p:cNvPr>
          <p:cNvCxnSpPr>
            <a:cxnSpLocks/>
            <a:stCxn id="44" idx="3"/>
            <a:endCxn id="45" idx="1"/>
          </p:cNvCxnSpPr>
          <p:nvPr/>
        </p:nvCxnSpPr>
        <p:spPr>
          <a:xfrm flipV="1">
            <a:off x="4556489" y="1887480"/>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589397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D340258-1989-4BE5-AAD4-0FE30AFB94EF}"/>
              </a:ext>
            </a:extLst>
          </p:cNvPr>
          <p:cNvSpPr/>
          <p:nvPr/>
        </p:nvSpPr>
        <p:spPr>
          <a:xfrm>
            <a:off x="525216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531451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55" name="Oval 54">
            <a:extLst>
              <a:ext uri="{FF2B5EF4-FFF2-40B4-BE49-F238E27FC236}">
                <a16:creationId xmlns:a16="http://schemas.microsoft.com/office/drawing/2014/main" id="{FBF08FD3-136E-4631-95FC-EC60E3ECBEF8}"/>
              </a:ext>
            </a:extLst>
          </p:cNvPr>
          <p:cNvSpPr/>
          <p:nvPr/>
        </p:nvSpPr>
        <p:spPr>
          <a:xfrm>
            <a:off x="6228935"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6298070" y="2269067"/>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37" name="TextBox 45">
            <a:extLst>
              <a:ext uri="{FF2B5EF4-FFF2-40B4-BE49-F238E27FC236}">
                <a16:creationId xmlns:a16="http://schemas.microsoft.com/office/drawing/2014/main" id="{6A2CD731-851B-4170-828B-5DDD01CFD185}"/>
              </a:ext>
            </a:extLst>
          </p:cNvPr>
          <p:cNvSpPr txBox="1"/>
          <p:nvPr/>
        </p:nvSpPr>
        <p:spPr>
          <a:xfrm>
            <a:off x="734435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38" name="Straight Arrow Connector 49">
            <a:extLst>
              <a:ext uri="{FF2B5EF4-FFF2-40B4-BE49-F238E27FC236}">
                <a16:creationId xmlns:a16="http://schemas.microsoft.com/office/drawing/2014/main" id="{82653661-FA00-455E-AC19-DCF889BD08A5}"/>
              </a:ext>
            </a:extLst>
          </p:cNvPr>
          <p:cNvCxnSpPr>
            <a:cxnSpLocks/>
            <a:stCxn id="46" idx="3"/>
            <a:endCxn id="37" idx="1"/>
          </p:cNvCxnSpPr>
          <p:nvPr/>
        </p:nvCxnSpPr>
        <p:spPr>
          <a:xfrm>
            <a:off x="719759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40">
            <a:extLst>
              <a:ext uri="{FF2B5EF4-FFF2-40B4-BE49-F238E27FC236}">
                <a16:creationId xmlns:a16="http://schemas.microsoft.com/office/drawing/2014/main" id="{FC8B88BA-6625-4DD9-BD92-00790E085F10}"/>
              </a:ext>
            </a:extLst>
          </p:cNvPr>
          <p:cNvSpPr txBox="1"/>
          <p:nvPr/>
        </p:nvSpPr>
        <p:spPr>
          <a:xfrm>
            <a:off x="3376438" y="2026784"/>
            <a:ext cx="2445410" cy="797591"/>
          </a:xfrm>
          <a:prstGeom prst="rect">
            <a:avLst/>
          </a:prstGeom>
          <a:noFill/>
        </p:spPr>
        <p:txBody>
          <a:bodyPr wrap="square">
            <a:spAutoFit/>
          </a:bodyPr>
          <a:lstStyle/>
          <a:p>
            <a:pPr defTabSz="665550">
              <a:lnSpc>
                <a:spcPct val="70000"/>
              </a:lnSpc>
              <a:buClr>
                <a:srgbClr val="0067B1"/>
              </a:buClr>
            </a:pPr>
            <a:r>
              <a:rPr lang="en-US" sz="700" b="1" dirty="0">
                <a:solidFill>
                  <a:srgbClr val="000000"/>
                </a:solidFill>
                <a:latin typeface="Arial" panose="020B0604020202020204"/>
              </a:rPr>
              <a:t>Requests Type</a:t>
            </a:r>
          </a:p>
          <a:p>
            <a:pPr marL="128588" indent="-128588">
              <a:lnSpc>
                <a:spcPct val="70000"/>
              </a:lnSpc>
              <a:spcBef>
                <a:spcPts val="300"/>
              </a:spcBef>
              <a:buFont typeface="Arial" panose="020B0604020202020204" pitchFamily="34" charset="0"/>
              <a:buChar char="•"/>
            </a:pPr>
            <a:r>
              <a:rPr lang="es-AR" sz="700" dirty="0" err="1"/>
              <a:t>Incidents</a:t>
            </a:r>
            <a:r>
              <a:rPr lang="es-AR" sz="700" dirty="0"/>
              <a:t> </a:t>
            </a:r>
          </a:p>
          <a:p>
            <a:pPr marL="128588" indent="-128588">
              <a:lnSpc>
                <a:spcPct val="70000"/>
              </a:lnSpc>
              <a:spcBef>
                <a:spcPts val="300"/>
              </a:spcBef>
              <a:buFont typeface="Arial" panose="020B0604020202020204" pitchFamily="34" charset="0"/>
              <a:buChar char="•"/>
            </a:pPr>
            <a:r>
              <a:rPr lang="es-AR" sz="700" dirty="0"/>
              <a:t>Access Request</a:t>
            </a:r>
          </a:p>
          <a:p>
            <a:pPr marL="128588" indent="-128588">
              <a:lnSpc>
                <a:spcPct val="70000"/>
              </a:lnSpc>
              <a:spcBef>
                <a:spcPts val="300"/>
              </a:spcBef>
              <a:buFont typeface="Arial" panose="020B0604020202020204" pitchFamily="34" charset="0"/>
              <a:buChar char="•"/>
            </a:pPr>
            <a:r>
              <a:rPr lang="es-AR" sz="700" dirty="0" err="1"/>
              <a:t>Queue</a:t>
            </a:r>
            <a:r>
              <a:rPr lang="es-AR" sz="700" dirty="0"/>
              <a:t> </a:t>
            </a:r>
            <a:r>
              <a:rPr lang="es-AR" sz="700" dirty="0" err="1"/>
              <a:t>Creation</a:t>
            </a:r>
            <a:r>
              <a:rPr lang="es-AR" sz="700" dirty="0"/>
              <a:t> </a:t>
            </a:r>
            <a:r>
              <a:rPr lang="es-AR" sz="700" dirty="0" err="1"/>
              <a:t>Requests</a:t>
            </a:r>
            <a:endParaRPr lang="es-AR" sz="700" dirty="0"/>
          </a:p>
          <a:p>
            <a:pPr marL="128588" indent="-128588">
              <a:lnSpc>
                <a:spcPct val="70000"/>
              </a:lnSpc>
              <a:spcBef>
                <a:spcPts val="300"/>
              </a:spcBef>
              <a:buFont typeface="Arial" panose="020B0604020202020204" pitchFamily="34" charset="0"/>
              <a:buChar char="•"/>
            </a:pPr>
            <a:r>
              <a:rPr lang="es-AR" sz="700" dirty="0"/>
              <a:t>Test </a:t>
            </a:r>
            <a:r>
              <a:rPr lang="es-AR" sz="700" dirty="0" err="1"/>
              <a:t>Enviroment</a:t>
            </a:r>
            <a:r>
              <a:rPr lang="es-AR" sz="700" dirty="0"/>
              <a:t> </a:t>
            </a:r>
            <a:r>
              <a:rPr lang="es-AR" sz="700" dirty="0" err="1"/>
              <a:t>Requests</a:t>
            </a:r>
            <a:endParaRPr lang="es-AR" sz="700" dirty="0"/>
          </a:p>
          <a:p>
            <a:pPr defTabSz="665550">
              <a:lnSpc>
                <a:spcPct val="70000"/>
              </a:lnSpc>
              <a:buClr>
                <a:srgbClr val="0067B1"/>
              </a:buClr>
            </a:pPr>
            <a:endParaRPr lang="en-US" sz="700" b="1" dirty="0">
              <a:solidFill>
                <a:srgbClr val="000000"/>
              </a:solidFill>
              <a:latin typeface="Arial" panose="020B0604020202020204"/>
            </a:endParaRPr>
          </a:p>
          <a:p>
            <a:pPr marL="117472" indent="-117472" defTabSz="665550">
              <a:lnSpc>
                <a:spcPct val="70000"/>
              </a:lnSpc>
              <a:buClr>
                <a:srgbClr val="0067B1"/>
              </a:buClr>
              <a:buFont typeface="Wingdings" panose="05000000000000000000" pitchFamily="2" charset="2"/>
              <a:buChar char="§"/>
            </a:pPr>
            <a:endParaRPr lang="en-US" sz="900" dirty="0">
              <a:solidFill>
                <a:srgbClr val="000000"/>
              </a:solidFill>
              <a:latin typeface="Arial" panose="020B0604020202020204"/>
            </a:endParaRPr>
          </a:p>
        </p:txBody>
      </p:sp>
    </p:spTree>
    <p:extLst>
      <p:ext uri="{BB962C8B-B14F-4D97-AF65-F5344CB8AC3E}">
        <p14:creationId xmlns:p14="http://schemas.microsoft.com/office/powerpoint/2010/main" val="8501682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Rodrigo de Lima Capelare</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Kerry </a:t>
            </a:r>
            <a:r>
              <a:rPr lang="en-US" sz="900" dirty="0" err="1">
                <a:solidFill>
                  <a:srgbClr val="000000"/>
                </a:solidFill>
                <a:latin typeface="Arial" panose="020B0604020202020204"/>
                <a:cs typeface="+mn-cs"/>
              </a:rPr>
              <a:t>Youngblood,Joseph</a:t>
            </a:r>
            <a:r>
              <a:rPr lang="en-US" sz="900" dirty="0">
                <a:solidFill>
                  <a:srgbClr val="000000"/>
                </a:solidFill>
                <a:latin typeface="Arial" panose="020B0604020202020204"/>
                <a:cs typeface="+mn-cs"/>
              </a:rPr>
              <a:t> Lijo</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BAC</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err="1">
                <a:solidFill>
                  <a:srgbClr val="000000"/>
                </a:solidFill>
                <a:latin typeface="Arial" panose="020B0604020202020204"/>
                <a:cs typeface="+mn-cs"/>
              </a:rPr>
              <a:t>Tie</a:t>
            </a:r>
            <a:r>
              <a:rPr lang="pt-BR" sz="900" dirty="0">
                <a:solidFill>
                  <a:srgbClr val="000000"/>
                </a:solidFill>
                <a:latin typeface="Arial" panose="020B0604020202020204"/>
                <a:cs typeface="+mn-cs"/>
              </a:rPr>
              <a:t> </a:t>
            </a:r>
            <a:r>
              <a:rPr lang="pt-BR" sz="900" dirty="0" err="1">
                <a:solidFill>
                  <a:srgbClr val="000000"/>
                </a:solidFill>
                <a:latin typeface="Arial" panose="020B0604020202020204"/>
                <a:cs typeface="+mn-cs"/>
              </a:rPr>
              <a:t>Code</a:t>
            </a:r>
            <a:r>
              <a:rPr lang="pt-BR" sz="900" dirty="0">
                <a:solidFill>
                  <a:srgbClr val="000000"/>
                </a:solidFill>
                <a:latin typeface="Arial" panose="020B0604020202020204"/>
                <a:cs typeface="+mn-cs"/>
              </a:rPr>
              <a:t> Tool</a:t>
            </a: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BAC/Fusion/TCT will be used by Latam Users in order to load Billing Requests, Manage Billing Requests, Obtain Billing Information, Obtain Collections Information, Assign Collectors and Billing Coordinators, with the same functionalities used by Latam before Feb. 2022. </a:t>
            </a: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equest Reception: 24 hour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equest Resolution: </a:t>
            </a:r>
            <a:r>
              <a:rPr lang="en-US" sz="900" dirty="0">
                <a:solidFill>
                  <a:srgbClr val="000000"/>
                </a:solidFill>
                <a:highlight>
                  <a:srgbClr val="FFFF00"/>
                </a:highlight>
                <a:latin typeface="Arial" panose="020B0604020202020204"/>
                <a:cs typeface="+mn-cs"/>
              </a:rPr>
              <a:t>TBC by NA</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Joseph Lijo</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Kerry Youngblood</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3</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CCAT/ORACLE/SAP SUPPORT</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01783"/>
            <a:ext cx="3311439" cy="1338828"/>
          </a:xfrm>
          <a:prstGeom prst="rect">
            <a:avLst/>
          </a:prstGeom>
          <a:noFill/>
        </p:spPr>
        <p:txBody>
          <a:bodyPr wrap="square">
            <a:spAutoFit/>
          </a:bodyPr>
          <a:lstStyle/>
          <a:p>
            <a:pPr defTabSz="665550">
              <a:buClr>
                <a:srgbClr val="0067B1"/>
              </a:buClr>
            </a:pPr>
            <a:r>
              <a:rPr lang="en-US" sz="900" b="1" dirty="0">
                <a:solidFill>
                  <a:srgbClr val="000000"/>
                </a:solidFill>
                <a:latin typeface="Arial" panose="020B0604020202020204"/>
              </a:rPr>
              <a:t>BAC/Fusion/Tie Code Tool Support</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Columbus User has an issue/Change Request in BAC/Fusion/Tie Code Tool</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Columbus User send an e-mail to Fusionsupport@lumen.com</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Lumen Fusion Support</a:t>
            </a:r>
          </a:p>
          <a:p>
            <a:pPr marL="228594" lvl="1" indent="-111122" defTabSz="665550">
              <a:buClr>
                <a:srgbClr val="0067B1"/>
              </a:buClr>
              <a:buFont typeface="Courier New" panose="02070309020205020404" pitchFamily="49" charset="0"/>
              <a:buChar char="o"/>
            </a:pPr>
            <a:r>
              <a:rPr lang="en-US" sz="900" dirty="0">
                <a:solidFill>
                  <a:srgbClr val="000000"/>
                </a:solidFill>
                <a:latin typeface="Arial" panose="020B0604020202020204"/>
              </a:rPr>
              <a:t>Receives a ticket</a:t>
            </a:r>
          </a:p>
          <a:p>
            <a:pPr marL="228594" lvl="1" indent="-111122" defTabSz="665550">
              <a:buClr>
                <a:srgbClr val="0067B1"/>
              </a:buClr>
              <a:buFont typeface="Courier New" panose="02070309020205020404" pitchFamily="49" charset="0"/>
              <a:buChar char="o"/>
            </a:pPr>
            <a:r>
              <a:rPr lang="en-US" sz="900" dirty="0">
                <a:solidFill>
                  <a:srgbClr val="000000"/>
                </a:solidFill>
                <a:latin typeface="Arial" panose="020B0604020202020204"/>
              </a:rPr>
              <a:t>Resolves the incident</a:t>
            </a:r>
          </a:p>
          <a:p>
            <a:pPr marL="228594" lvl="1" indent="-111122" defTabSz="665550">
              <a:buClr>
                <a:srgbClr val="0067B1"/>
              </a:buClr>
              <a:buFont typeface="Courier New" panose="02070309020205020404" pitchFamily="49" charset="0"/>
              <a:buChar char="o"/>
            </a:pPr>
            <a:r>
              <a:rPr lang="en-US" sz="900" dirty="0">
                <a:solidFill>
                  <a:srgbClr val="000000"/>
                </a:solidFill>
                <a:latin typeface="Arial" panose="020B0604020202020204"/>
              </a:rPr>
              <a:t>Closes the ticket. </a:t>
            </a:r>
          </a:p>
        </p:txBody>
      </p:sp>
      <p:sp>
        <p:nvSpPr>
          <p:cNvPr id="44" name="TextBox 43">
            <a:extLst>
              <a:ext uri="{FF2B5EF4-FFF2-40B4-BE49-F238E27FC236}">
                <a16:creationId xmlns:a16="http://schemas.microsoft.com/office/drawing/2014/main" id="{BAAB01BB-1A36-4887-9BA4-EA88AFA174C6}"/>
              </a:ext>
            </a:extLst>
          </p:cNvPr>
          <p:cNvSpPr txBox="1"/>
          <p:nvPr/>
        </p:nvSpPr>
        <p:spPr>
          <a:xfrm>
            <a:off x="3399633" y="1781321"/>
            <a:ext cx="1156856" cy="215444"/>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45" name="TextBox 44">
            <a:extLst>
              <a:ext uri="{FF2B5EF4-FFF2-40B4-BE49-F238E27FC236}">
                <a16:creationId xmlns:a16="http://schemas.microsoft.com/office/drawing/2014/main" id="{2CDBF9DC-3716-4CB1-9583-86E89C48226D}"/>
              </a:ext>
            </a:extLst>
          </p:cNvPr>
          <p:cNvSpPr txBox="1"/>
          <p:nvPr/>
        </p:nvSpPr>
        <p:spPr>
          <a:xfrm>
            <a:off x="473711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sp>
        <p:nvSpPr>
          <p:cNvPr id="46" name="TextBox 45">
            <a:extLst>
              <a:ext uri="{FF2B5EF4-FFF2-40B4-BE49-F238E27FC236}">
                <a16:creationId xmlns:a16="http://schemas.microsoft.com/office/drawing/2014/main" id="{38012B40-B0BF-4FB1-B315-1AF1E84F5A4A}"/>
              </a:ext>
            </a:extLst>
          </p:cNvPr>
          <p:cNvSpPr txBox="1"/>
          <p:nvPr/>
        </p:nvSpPr>
        <p:spPr>
          <a:xfrm>
            <a:off x="604073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olve Request</a:t>
            </a:r>
          </a:p>
        </p:txBody>
      </p:sp>
      <p:cxnSp>
        <p:nvCxnSpPr>
          <p:cNvPr id="47" name="Straight Arrow Connector 46">
            <a:extLst>
              <a:ext uri="{FF2B5EF4-FFF2-40B4-BE49-F238E27FC236}">
                <a16:creationId xmlns:a16="http://schemas.microsoft.com/office/drawing/2014/main" id="{F50520C6-57BD-40D7-AA50-58556C5420E4}"/>
              </a:ext>
            </a:extLst>
          </p:cNvPr>
          <p:cNvCxnSpPr>
            <a:cxnSpLocks/>
            <a:stCxn id="44" idx="3"/>
            <a:endCxn id="45" idx="1"/>
          </p:cNvCxnSpPr>
          <p:nvPr/>
        </p:nvCxnSpPr>
        <p:spPr>
          <a:xfrm flipV="1">
            <a:off x="4556489" y="1887480"/>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589397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D340258-1989-4BE5-AAD4-0FE30AFB94EF}"/>
              </a:ext>
            </a:extLst>
          </p:cNvPr>
          <p:cNvSpPr/>
          <p:nvPr/>
        </p:nvSpPr>
        <p:spPr>
          <a:xfrm>
            <a:off x="525216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531451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55" name="Oval 54">
            <a:extLst>
              <a:ext uri="{FF2B5EF4-FFF2-40B4-BE49-F238E27FC236}">
                <a16:creationId xmlns:a16="http://schemas.microsoft.com/office/drawing/2014/main" id="{FBF08FD3-136E-4631-95FC-EC60E3ECBEF8}"/>
              </a:ext>
            </a:extLst>
          </p:cNvPr>
          <p:cNvSpPr/>
          <p:nvPr/>
        </p:nvSpPr>
        <p:spPr>
          <a:xfrm>
            <a:off x="6228935"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6298070" y="2269067"/>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37" name="TextBox 45">
            <a:extLst>
              <a:ext uri="{FF2B5EF4-FFF2-40B4-BE49-F238E27FC236}">
                <a16:creationId xmlns:a16="http://schemas.microsoft.com/office/drawing/2014/main" id="{6A2CD731-851B-4170-828B-5DDD01CFD185}"/>
              </a:ext>
            </a:extLst>
          </p:cNvPr>
          <p:cNvSpPr txBox="1"/>
          <p:nvPr/>
        </p:nvSpPr>
        <p:spPr>
          <a:xfrm>
            <a:off x="734435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38" name="Straight Arrow Connector 49">
            <a:extLst>
              <a:ext uri="{FF2B5EF4-FFF2-40B4-BE49-F238E27FC236}">
                <a16:creationId xmlns:a16="http://schemas.microsoft.com/office/drawing/2014/main" id="{82653661-FA00-455E-AC19-DCF889BD08A5}"/>
              </a:ext>
            </a:extLst>
          </p:cNvPr>
          <p:cNvCxnSpPr>
            <a:cxnSpLocks/>
            <a:stCxn id="46" idx="3"/>
            <a:endCxn id="37" idx="1"/>
          </p:cNvCxnSpPr>
          <p:nvPr/>
        </p:nvCxnSpPr>
        <p:spPr>
          <a:xfrm>
            <a:off x="719759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40">
            <a:extLst>
              <a:ext uri="{FF2B5EF4-FFF2-40B4-BE49-F238E27FC236}">
                <a16:creationId xmlns:a16="http://schemas.microsoft.com/office/drawing/2014/main" id="{FC8B88BA-6625-4DD9-BD92-00790E085F10}"/>
              </a:ext>
            </a:extLst>
          </p:cNvPr>
          <p:cNvSpPr txBox="1"/>
          <p:nvPr/>
        </p:nvSpPr>
        <p:spPr>
          <a:xfrm>
            <a:off x="3376438" y="2026784"/>
            <a:ext cx="2445410" cy="797591"/>
          </a:xfrm>
          <a:prstGeom prst="rect">
            <a:avLst/>
          </a:prstGeom>
          <a:noFill/>
        </p:spPr>
        <p:txBody>
          <a:bodyPr wrap="square">
            <a:spAutoFit/>
          </a:bodyPr>
          <a:lstStyle/>
          <a:p>
            <a:pPr defTabSz="665550">
              <a:lnSpc>
                <a:spcPct val="70000"/>
              </a:lnSpc>
              <a:buClr>
                <a:srgbClr val="0067B1"/>
              </a:buClr>
            </a:pPr>
            <a:r>
              <a:rPr lang="en-US" sz="700" b="1" dirty="0">
                <a:solidFill>
                  <a:srgbClr val="000000"/>
                </a:solidFill>
                <a:latin typeface="Arial" panose="020B0604020202020204"/>
              </a:rPr>
              <a:t>Requests Type</a:t>
            </a:r>
          </a:p>
          <a:p>
            <a:pPr marL="128588" indent="-128588">
              <a:lnSpc>
                <a:spcPct val="70000"/>
              </a:lnSpc>
              <a:spcBef>
                <a:spcPts val="300"/>
              </a:spcBef>
              <a:buFont typeface="Arial" panose="020B0604020202020204" pitchFamily="34" charset="0"/>
              <a:buChar char="•"/>
            </a:pPr>
            <a:r>
              <a:rPr lang="es-AR" sz="700" dirty="0" err="1"/>
              <a:t>Incidents</a:t>
            </a:r>
            <a:r>
              <a:rPr lang="es-AR" sz="700" dirty="0"/>
              <a:t> </a:t>
            </a:r>
          </a:p>
          <a:p>
            <a:pPr marL="128588" indent="-128588">
              <a:lnSpc>
                <a:spcPct val="70000"/>
              </a:lnSpc>
              <a:spcBef>
                <a:spcPts val="300"/>
              </a:spcBef>
              <a:buFont typeface="Arial" panose="020B0604020202020204" pitchFamily="34" charset="0"/>
              <a:buChar char="•"/>
            </a:pPr>
            <a:r>
              <a:rPr lang="es-AR" sz="700" dirty="0"/>
              <a:t>Access Request</a:t>
            </a:r>
          </a:p>
          <a:p>
            <a:pPr marL="128588" indent="-128588">
              <a:lnSpc>
                <a:spcPct val="70000"/>
              </a:lnSpc>
              <a:spcBef>
                <a:spcPts val="300"/>
              </a:spcBef>
              <a:buFont typeface="Arial" panose="020B0604020202020204" pitchFamily="34" charset="0"/>
              <a:buChar char="•"/>
            </a:pPr>
            <a:r>
              <a:rPr lang="es-AR" sz="700" dirty="0" err="1"/>
              <a:t>Queue</a:t>
            </a:r>
            <a:r>
              <a:rPr lang="es-AR" sz="700" dirty="0"/>
              <a:t> </a:t>
            </a:r>
            <a:r>
              <a:rPr lang="es-AR" sz="700" dirty="0" err="1"/>
              <a:t>Creation</a:t>
            </a:r>
            <a:r>
              <a:rPr lang="es-AR" sz="700" dirty="0"/>
              <a:t> </a:t>
            </a:r>
            <a:r>
              <a:rPr lang="es-AR" sz="700" dirty="0" err="1"/>
              <a:t>Requests</a:t>
            </a:r>
            <a:endParaRPr lang="es-AR" sz="700" dirty="0"/>
          </a:p>
          <a:p>
            <a:pPr marL="128588" indent="-128588">
              <a:lnSpc>
                <a:spcPct val="70000"/>
              </a:lnSpc>
              <a:spcBef>
                <a:spcPts val="300"/>
              </a:spcBef>
              <a:buFont typeface="Arial" panose="020B0604020202020204" pitchFamily="34" charset="0"/>
              <a:buChar char="•"/>
            </a:pPr>
            <a:r>
              <a:rPr lang="es-AR" sz="700" dirty="0"/>
              <a:t>Test </a:t>
            </a:r>
            <a:r>
              <a:rPr lang="es-AR" sz="700" dirty="0" err="1"/>
              <a:t>Enviroment</a:t>
            </a:r>
            <a:r>
              <a:rPr lang="es-AR" sz="700" dirty="0"/>
              <a:t> </a:t>
            </a:r>
            <a:r>
              <a:rPr lang="es-AR" sz="700" dirty="0" err="1"/>
              <a:t>Requests</a:t>
            </a:r>
            <a:endParaRPr lang="es-AR" sz="700" dirty="0"/>
          </a:p>
          <a:p>
            <a:pPr defTabSz="665550">
              <a:lnSpc>
                <a:spcPct val="70000"/>
              </a:lnSpc>
              <a:buClr>
                <a:srgbClr val="0067B1"/>
              </a:buClr>
            </a:pPr>
            <a:endParaRPr lang="en-US" sz="700" b="1" dirty="0">
              <a:solidFill>
                <a:srgbClr val="000000"/>
              </a:solidFill>
              <a:latin typeface="Arial" panose="020B0604020202020204"/>
            </a:endParaRPr>
          </a:p>
          <a:p>
            <a:pPr marL="117472" indent="-117472" defTabSz="665550">
              <a:lnSpc>
                <a:spcPct val="70000"/>
              </a:lnSpc>
              <a:buClr>
                <a:srgbClr val="0067B1"/>
              </a:buClr>
              <a:buFont typeface="Wingdings" panose="05000000000000000000" pitchFamily="2" charset="2"/>
              <a:buChar char="§"/>
            </a:pPr>
            <a:endParaRPr lang="en-US" sz="900" dirty="0">
              <a:solidFill>
                <a:srgbClr val="000000"/>
              </a:solidFill>
              <a:latin typeface="Arial" panose="020B0604020202020204"/>
            </a:endParaRPr>
          </a:p>
        </p:txBody>
      </p:sp>
      <p:sp>
        <p:nvSpPr>
          <p:cNvPr id="31" name="Rectángulo 30">
            <a:extLst>
              <a:ext uri="{FF2B5EF4-FFF2-40B4-BE49-F238E27FC236}">
                <a16:creationId xmlns:a16="http://schemas.microsoft.com/office/drawing/2014/main" id="{E40FEB7D-634E-4509-A169-9417C32CA713}"/>
              </a:ext>
            </a:extLst>
          </p:cNvPr>
          <p:cNvSpPr/>
          <p:nvPr/>
        </p:nvSpPr>
        <p:spPr>
          <a:xfrm>
            <a:off x="5475111" y="2571750"/>
            <a:ext cx="3258794" cy="10440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Pending ver con quien validarlos</a:t>
            </a:r>
            <a:endParaRPr lang="en-US" dirty="0"/>
          </a:p>
        </p:txBody>
      </p:sp>
    </p:spTree>
    <p:extLst>
      <p:ext uri="{BB962C8B-B14F-4D97-AF65-F5344CB8AC3E}">
        <p14:creationId xmlns:p14="http://schemas.microsoft.com/office/powerpoint/2010/main" val="1793120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3009951"/>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7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Corporate Customer Portal (Control Center/My Level3)</a:t>
            </a:r>
          </a:p>
          <a:p>
            <a:pPr marL="117472" indent="-117472" defTabSz="665550">
              <a:lnSpc>
                <a:spcPct val="7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BAC</a:t>
            </a:r>
          </a:p>
          <a:p>
            <a:pPr marL="117472" indent="-117472" defTabSz="665550">
              <a:lnSpc>
                <a:spcPct val="70000"/>
              </a:lnSpc>
              <a:spcBef>
                <a:spcPts val="0"/>
              </a:spcBef>
              <a:buClr>
                <a:srgbClr val="0067B1"/>
              </a:buClr>
              <a:buSzPct val="100000"/>
              <a:buFont typeface="Wingdings" panose="05000000000000000000" pitchFamily="2" charset="2"/>
              <a:buChar char="§"/>
              <a:defRPr/>
            </a:pPr>
            <a:r>
              <a:rPr lang="pt-BR" sz="900" dirty="0" err="1">
                <a:solidFill>
                  <a:srgbClr val="000000"/>
                </a:solidFill>
                <a:latin typeface="Arial" panose="020B0604020202020204"/>
                <a:cs typeface="+mn-cs"/>
              </a:rPr>
              <a:t>Tie</a:t>
            </a:r>
            <a:r>
              <a:rPr lang="pt-BR" sz="900" dirty="0">
                <a:solidFill>
                  <a:srgbClr val="000000"/>
                </a:solidFill>
                <a:latin typeface="Arial" panose="020B0604020202020204"/>
                <a:cs typeface="+mn-cs"/>
              </a:rPr>
              <a:t> </a:t>
            </a:r>
            <a:r>
              <a:rPr lang="pt-BR" sz="900" dirty="0" err="1">
                <a:solidFill>
                  <a:srgbClr val="000000"/>
                </a:solidFill>
                <a:latin typeface="Arial" panose="020B0604020202020204"/>
                <a:cs typeface="+mn-cs"/>
              </a:rPr>
              <a:t>Code</a:t>
            </a:r>
            <a:r>
              <a:rPr lang="pt-BR" sz="900" dirty="0">
                <a:solidFill>
                  <a:srgbClr val="000000"/>
                </a:solidFill>
                <a:latin typeface="Arial" panose="020B0604020202020204"/>
                <a:cs typeface="+mn-cs"/>
              </a:rPr>
              <a:t> Tool</a:t>
            </a:r>
          </a:p>
          <a:p>
            <a:pPr marL="117472" indent="-117472" defTabSz="665550">
              <a:lnSpc>
                <a:spcPct val="7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985771"/>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Billing </a:t>
            </a:r>
            <a:r>
              <a:rPr lang="es-AR" sz="900" dirty="0" err="1">
                <a:solidFill>
                  <a:srgbClr val="000000"/>
                </a:solidFill>
                <a:latin typeface="Arial" panose="020B0604020202020204"/>
                <a:cs typeface="+mn-cs"/>
              </a:rPr>
              <a:t>request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from</a:t>
            </a:r>
            <a:r>
              <a:rPr lang="es-AR" sz="900" dirty="0">
                <a:solidFill>
                  <a:srgbClr val="000000"/>
                </a:solidFill>
                <a:latin typeface="Arial" panose="020B0604020202020204"/>
                <a:cs typeface="+mn-cs"/>
              </a:rPr>
              <a:t> </a:t>
            </a:r>
            <a:r>
              <a:rPr lang="en-US" sz="900" dirty="0">
                <a:solidFill>
                  <a:srgbClr val="000000"/>
                </a:solidFill>
                <a:latin typeface="Arial" panose="020B0604020202020204"/>
              </a:rPr>
              <a:t>Mexico, Panamá, Costa Rica and St. Croix will still be routed in the same way as today, following these rules:</a:t>
            </a:r>
          </a:p>
          <a:p>
            <a:pPr marL="225425" lvl="3" indent="-115888" defTabSz="665550">
              <a:lnSpc>
                <a:spcPct val="80000"/>
              </a:lnSpc>
              <a:spcBef>
                <a:spcPts val="0"/>
              </a:spcBef>
              <a:buClr>
                <a:srgbClr val="0067B1"/>
              </a:buClr>
              <a:buSzPct val="100000"/>
              <a:buFont typeface="Wingdings" panose="05000000000000000000" pitchFamily="2" charset="2"/>
              <a:buChar char="§"/>
              <a:defRPr/>
            </a:pPr>
            <a:r>
              <a:rPr lang="en-US" sz="700" b="0" dirty="0">
                <a:solidFill>
                  <a:srgbClr val="000000"/>
                </a:solidFill>
                <a:latin typeface="Arial" panose="020B0604020202020204"/>
                <a:ea typeface="Roboto Light" panose="02000000000000000000" pitchFamily="2" charset="0"/>
                <a:cs typeface="+mn-cs"/>
              </a:rPr>
              <a:t>If Dispute / Proactive Correction = Delayed Invoice Delivery or Incorrect Invoice Header Data, then the BAC will route it to the Latam Quick Win queue.</a:t>
            </a:r>
          </a:p>
          <a:p>
            <a:pPr marL="225425" lvl="3" indent="-115888" defTabSz="665550">
              <a:lnSpc>
                <a:spcPct val="80000"/>
              </a:lnSpc>
              <a:spcBef>
                <a:spcPts val="0"/>
              </a:spcBef>
              <a:buClr>
                <a:srgbClr val="0067B1"/>
              </a:buClr>
              <a:buSzPct val="100000"/>
              <a:buFont typeface="Wingdings" panose="05000000000000000000" pitchFamily="2" charset="2"/>
              <a:buChar char="§"/>
              <a:defRPr/>
            </a:pPr>
            <a:r>
              <a:rPr lang="en-US" sz="700" b="0" dirty="0">
                <a:solidFill>
                  <a:srgbClr val="000000"/>
                </a:solidFill>
                <a:latin typeface="Arial" panose="020B0604020202020204"/>
                <a:ea typeface="Roboto Light" panose="02000000000000000000" pitchFamily="2" charset="0"/>
                <a:cs typeface="+mn-cs"/>
              </a:rPr>
              <a:t>If there is an assignment in TCT, then the BAC will route to the Assigned BC.</a:t>
            </a:r>
          </a:p>
          <a:p>
            <a:pPr marL="225425" lvl="3" indent="-115888" defTabSz="665550">
              <a:lnSpc>
                <a:spcPct val="80000"/>
              </a:lnSpc>
              <a:spcBef>
                <a:spcPts val="0"/>
              </a:spcBef>
              <a:buClr>
                <a:srgbClr val="0067B1"/>
              </a:buClr>
              <a:buSzPct val="100000"/>
              <a:buFont typeface="Wingdings" panose="05000000000000000000" pitchFamily="2" charset="2"/>
              <a:buChar char="§"/>
              <a:defRPr/>
            </a:pPr>
            <a:r>
              <a:rPr lang="en-US" sz="700" b="0" dirty="0">
                <a:solidFill>
                  <a:srgbClr val="000000"/>
                </a:solidFill>
                <a:latin typeface="Arial" panose="020B0604020202020204"/>
                <a:ea typeface="Roboto Light" panose="02000000000000000000" pitchFamily="2" charset="0"/>
                <a:cs typeface="+mn-cs"/>
              </a:rPr>
              <a:t>If there is not an assignment in TCT, then the BAC will route the ticket to the LATAM (CFS) CSM queue.</a:t>
            </a: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864620"/>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ny error in this path will be managed as a Fusion Incident (see BAC/Fusion/Tie Code Tool Support)</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4</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6011331"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Ticket Routing Between Regions – MX/PN/CR/ST.CROIX</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56565"/>
            <a:ext cx="2964666" cy="1200329"/>
          </a:xfrm>
          <a:prstGeom prst="rect">
            <a:avLst/>
          </a:prstGeom>
          <a:noFill/>
        </p:spPr>
        <p:txBody>
          <a:bodyPr wrap="square">
            <a:spAutoFit/>
          </a:bodyPr>
          <a:lstStyle/>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Customer/Collaborators create a billing request related to a MX,PN,CR, St. Croix BAN</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Routing for these requests is made by an automation owns </a:t>
            </a:r>
            <a:r>
              <a:rPr lang="en-US" sz="900" dirty="0">
                <a:solidFill>
                  <a:srgbClr val="000000"/>
                </a:solidFill>
              </a:rPr>
              <a:t>by Fusion team, following specific rules</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Ticket is taken by LATAM team</a:t>
            </a:r>
          </a:p>
          <a:p>
            <a:pPr marL="117472" indent="-117472" defTabSz="665550">
              <a:buClr>
                <a:srgbClr val="0067B1"/>
              </a:buClr>
              <a:buFont typeface="Wingdings" panose="05000000000000000000" pitchFamily="2" charset="2"/>
              <a:buChar char="§"/>
            </a:pPr>
            <a:r>
              <a:rPr lang="en-US" sz="900" dirty="0">
                <a:solidFill>
                  <a:srgbClr val="000000"/>
                </a:solidFill>
                <a:latin typeface="Arial" panose="020B0604020202020204"/>
              </a:rPr>
              <a:t>This is an interaction with a NA automation</a:t>
            </a:r>
          </a:p>
          <a:p>
            <a:pPr marL="117472" indent="-117472" defTabSz="665550">
              <a:buClr>
                <a:srgbClr val="0067B1"/>
              </a:buClr>
              <a:buFont typeface="Wingdings" panose="05000000000000000000" pitchFamily="2" charset="2"/>
              <a:buChar char="§"/>
            </a:pPr>
            <a:endParaRPr lang="en-US" sz="900" dirty="0">
              <a:solidFill>
                <a:srgbClr val="000000"/>
              </a:solidFill>
              <a:latin typeface="Arial" panose="020B0604020202020204"/>
            </a:endParaRPr>
          </a:p>
        </p:txBody>
      </p:sp>
      <p:sp>
        <p:nvSpPr>
          <p:cNvPr id="26" name="Text Placeholder 2">
            <a:extLst>
              <a:ext uri="{FF2B5EF4-FFF2-40B4-BE49-F238E27FC236}">
                <a16:creationId xmlns:a16="http://schemas.microsoft.com/office/drawing/2014/main" id="{9B99460A-4AB2-48D7-8464-EDCE32EC6D87}"/>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Rodrigo de Lima Capelare</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Kerry </a:t>
            </a:r>
            <a:r>
              <a:rPr lang="en-US" sz="900" dirty="0" err="1">
                <a:solidFill>
                  <a:srgbClr val="000000"/>
                </a:solidFill>
                <a:latin typeface="Arial" panose="020B0604020202020204"/>
                <a:cs typeface="+mn-cs"/>
              </a:rPr>
              <a:t>Youngblood,Joseph</a:t>
            </a:r>
            <a:r>
              <a:rPr lang="en-US" sz="900" dirty="0">
                <a:solidFill>
                  <a:srgbClr val="000000"/>
                </a:solidFill>
                <a:latin typeface="Arial" panose="020B0604020202020204"/>
                <a:cs typeface="+mn-cs"/>
              </a:rPr>
              <a:t> Lijo</a:t>
            </a:r>
          </a:p>
          <a:p>
            <a:pPr marL="171446" indent="-171446" defTabSz="685783"/>
            <a:endParaRPr lang="en-US" dirty="0"/>
          </a:p>
        </p:txBody>
      </p:sp>
      <p:sp>
        <p:nvSpPr>
          <p:cNvPr id="27" name="Text Placeholder 2">
            <a:extLst>
              <a:ext uri="{FF2B5EF4-FFF2-40B4-BE49-F238E27FC236}">
                <a16:creationId xmlns:a16="http://schemas.microsoft.com/office/drawing/2014/main" id="{4F6BD348-174F-4AB3-A15A-4A5328434A9A}"/>
              </a:ext>
            </a:extLst>
          </p:cNvPr>
          <p:cNvSpPr txBox="1">
            <a:spLocks/>
          </p:cNvSpPr>
          <p:nvPr/>
        </p:nvSpPr>
        <p:spPr>
          <a:xfrm>
            <a:off x="3316271" y="3888801"/>
            <a:ext cx="2901766" cy="985770"/>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b="0" dirty="0">
              <a:solidFill>
                <a:srgbClr val="000000"/>
              </a:solidFill>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28" name="TextBox 43">
            <a:extLst>
              <a:ext uri="{FF2B5EF4-FFF2-40B4-BE49-F238E27FC236}">
                <a16:creationId xmlns:a16="http://schemas.microsoft.com/office/drawing/2014/main" id="{3CCDB9B9-79AB-48DE-9D0C-2F01DBA43247}"/>
              </a:ext>
            </a:extLst>
          </p:cNvPr>
          <p:cNvSpPr txBox="1"/>
          <p:nvPr/>
        </p:nvSpPr>
        <p:spPr>
          <a:xfrm>
            <a:off x="3399633" y="1781321"/>
            <a:ext cx="1156856" cy="215444"/>
          </a:xfrm>
          <a:prstGeom prst="rect">
            <a:avLst/>
          </a:prstGeom>
          <a:solidFill>
            <a:schemeClr val="bg1">
              <a:lumMod val="95000"/>
            </a:schemeClr>
          </a:solidFill>
          <a:ln>
            <a:solidFill>
              <a:schemeClr val="tx1"/>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29" name="TextBox 44">
            <a:extLst>
              <a:ext uri="{FF2B5EF4-FFF2-40B4-BE49-F238E27FC236}">
                <a16:creationId xmlns:a16="http://schemas.microsoft.com/office/drawing/2014/main" id="{C0CA9714-C13F-4467-8AEC-F8D67BE5DF34}"/>
              </a:ext>
            </a:extLst>
          </p:cNvPr>
          <p:cNvSpPr txBox="1"/>
          <p:nvPr/>
        </p:nvSpPr>
        <p:spPr>
          <a:xfrm>
            <a:off x="473711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NA AUTOMATION</a:t>
            </a:r>
          </a:p>
        </p:txBody>
      </p:sp>
      <p:sp>
        <p:nvSpPr>
          <p:cNvPr id="30" name="TextBox 45">
            <a:extLst>
              <a:ext uri="{FF2B5EF4-FFF2-40B4-BE49-F238E27FC236}">
                <a16:creationId xmlns:a16="http://schemas.microsoft.com/office/drawing/2014/main" id="{1CEC2EDB-05E4-4233-8B0B-3FE034F3F31A}"/>
              </a:ext>
            </a:extLst>
          </p:cNvPr>
          <p:cNvSpPr txBox="1"/>
          <p:nvPr/>
        </p:nvSpPr>
        <p:spPr>
          <a:xfrm>
            <a:off x="6040735" y="1779758"/>
            <a:ext cx="1156856" cy="215444"/>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cxnSp>
        <p:nvCxnSpPr>
          <p:cNvPr id="31" name="Straight Arrow Connector 46">
            <a:extLst>
              <a:ext uri="{FF2B5EF4-FFF2-40B4-BE49-F238E27FC236}">
                <a16:creationId xmlns:a16="http://schemas.microsoft.com/office/drawing/2014/main" id="{94847D5C-D084-43BA-9002-DDF933DA0CE3}"/>
              </a:ext>
            </a:extLst>
          </p:cNvPr>
          <p:cNvCxnSpPr>
            <a:cxnSpLocks/>
            <a:stCxn id="28" idx="3"/>
            <a:endCxn id="29" idx="1"/>
          </p:cNvCxnSpPr>
          <p:nvPr/>
        </p:nvCxnSpPr>
        <p:spPr>
          <a:xfrm flipV="1">
            <a:off x="4556489" y="1887480"/>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49">
            <a:extLst>
              <a:ext uri="{FF2B5EF4-FFF2-40B4-BE49-F238E27FC236}">
                <a16:creationId xmlns:a16="http://schemas.microsoft.com/office/drawing/2014/main" id="{AC1C7593-F770-46A2-AAE9-FBFA15E2E29F}"/>
              </a:ext>
            </a:extLst>
          </p:cNvPr>
          <p:cNvCxnSpPr>
            <a:cxnSpLocks/>
            <a:stCxn id="29" idx="3"/>
            <a:endCxn id="30" idx="1"/>
          </p:cNvCxnSpPr>
          <p:nvPr/>
        </p:nvCxnSpPr>
        <p:spPr>
          <a:xfrm>
            <a:off x="589397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Oval 51">
            <a:extLst>
              <a:ext uri="{FF2B5EF4-FFF2-40B4-BE49-F238E27FC236}">
                <a16:creationId xmlns:a16="http://schemas.microsoft.com/office/drawing/2014/main" id="{AC93D25B-8E07-4498-85C0-37713294C7F5}"/>
              </a:ext>
            </a:extLst>
          </p:cNvPr>
          <p:cNvSpPr/>
          <p:nvPr/>
        </p:nvSpPr>
        <p:spPr>
          <a:xfrm>
            <a:off x="3773316" y="2244488"/>
            <a:ext cx="124711" cy="124711"/>
          </a:xfrm>
          <a:prstGeom prst="ellipse">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35" name="Text Placeholder 2">
            <a:extLst>
              <a:ext uri="{FF2B5EF4-FFF2-40B4-BE49-F238E27FC236}">
                <a16:creationId xmlns:a16="http://schemas.microsoft.com/office/drawing/2014/main" id="{264A5871-A0DC-4425-9E16-36B10966AD9C}"/>
              </a:ext>
            </a:extLst>
          </p:cNvPr>
          <p:cNvSpPr txBox="1">
            <a:spLocks/>
          </p:cNvSpPr>
          <p:nvPr/>
        </p:nvSpPr>
        <p:spPr>
          <a:xfrm>
            <a:off x="3835671"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39" name="Oval 54">
            <a:extLst>
              <a:ext uri="{FF2B5EF4-FFF2-40B4-BE49-F238E27FC236}">
                <a16:creationId xmlns:a16="http://schemas.microsoft.com/office/drawing/2014/main" id="{33B27133-EE21-4331-94D7-9847645AE9C7}"/>
              </a:ext>
            </a:extLst>
          </p:cNvPr>
          <p:cNvSpPr/>
          <p:nvPr/>
        </p:nvSpPr>
        <p:spPr>
          <a:xfrm>
            <a:off x="4682357"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40" name="Text Placeholder 2">
            <a:extLst>
              <a:ext uri="{FF2B5EF4-FFF2-40B4-BE49-F238E27FC236}">
                <a16:creationId xmlns:a16="http://schemas.microsoft.com/office/drawing/2014/main" id="{E8DE0497-B0E1-48F0-8ABA-1890477DDD35}"/>
              </a:ext>
            </a:extLst>
          </p:cNvPr>
          <p:cNvSpPr txBox="1">
            <a:spLocks/>
          </p:cNvSpPr>
          <p:nvPr/>
        </p:nvSpPr>
        <p:spPr>
          <a:xfrm>
            <a:off x="4751493" y="2269067"/>
            <a:ext cx="444430" cy="122939"/>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43" name="TextBox 45">
            <a:extLst>
              <a:ext uri="{FF2B5EF4-FFF2-40B4-BE49-F238E27FC236}">
                <a16:creationId xmlns:a16="http://schemas.microsoft.com/office/drawing/2014/main" id="{E6134A6B-FE56-4B75-9134-EC0F2B4D81C8}"/>
              </a:ext>
            </a:extLst>
          </p:cNvPr>
          <p:cNvSpPr txBox="1"/>
          <p:nvPr/>
        </p:nvSpPr>
        <p:spPr>
          <a:xfrm>
            <a:off x="7344355" y="1779758"/>
            <a:ext cx="1156856" cy="215444"/>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olve Request</a:t>
            </a:r>
          </a:p>
        </p:txBody>
      </p:sp>
      <p:cxnSp>
        <p:nvCxnSpPr>
          <p:cNvPr id="49" name="Straight Arrow Connector 49">
            <a:extLst>
              <a:ext uri="{FF2B5EF4-FFF2-40B4-BE49-F238E27FC236}">
                <a16:creationId xmlns:a16="http://schemas.microsoft.com/office/drawing/2014/main" id="{B5648878-0CED-43AD-AB16-55A290B93C38}"/>
              </a:ext>
            </a:extLst>
          </p:cNvPr>
          <p:cNvCxnSpPr>
            <a:cxnSpLocks/>
            <a:stCxn id="30" idx="3"/>
            <a:endCxn id="43" idx="1"/>
          </p:cNvCxnSpPr>
          <p:nvPr/>
        </p:nvCxnSpPr>
        <p:spPr>
          <a:xfrm>
            <a:off x="719759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4">
            <a:extLst>
              <a:ext uri="{FF2B5EF4-FFF2-40B4-BE49-F238E27FC236}">
                <a16:creationId xmlns:a16="http://schemas.microsoft.com/office/drawing/2014/main" id="{93B6B821-0FEA-4DD7-A7DC-710927627166}"/>
              </a:ext>
            </a:extLst>
          </p:cNvPr>
          <p:cNvSpPr/>
          <p:nvPr/>
        </p:nvSpPr>
        <p:spPr>
          <a:xfrm>
            <a:off x="5446159" y="2258481"/>
            <a:ext cx="124711" cy="124711"/>
          </a:xfrm>
          <a:prstGeom prst="ellipse">
            <a:avLst/>
          </a:prstGeom>
          <a:solidFill>
            <a:schemeClr val="bg1">
              <a:lumMod val="9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FB878AF7-3AD8-4D45-9EFB-7E8CC78BA214}"/>
              </a:ext>
            </a:extLst>
          </p:cNvPr>
          <p:cNvSpPr txBox="1">
            <a:spLocks/>
          </p:cNvSpPr>
          <p:nvPr/>
        </p:nvSpPr>
        <p:spPr>
          <a:xfrm>
            <a:off x="5515294" y="2283060"/>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ustomer</a:t>
            </a:r>
          </a:p>
        </p:txBody>
      </p:sp>
      <p:sp>
        <p:nvSpPr>
          <p:cNvPr id="37" name="Rectángulo 36">
            <a:extLst>
              <a:ext uri="{FF2B5EF4-FFF2-40B4-BE49-F238E27FC236}">
                <a16:creationId xmlns:a16="http://schemas.microsoft.com/office/drawing/2014/main" id="{20D51CD5-B892-434C-810A-EA91B7085238}"/>
              </a:ext>
            </a:extLst>
          </p:cNvPr>
          <p:cNvSpPr/>
          <p:nvPr/>
        </p:nvSpPr>
        <p:spPr>
          <a:xfrm>
            <a:off x="6264897" y="3818607"/>
            <a:ext cx="2324556" cy="8181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Vamos a eliminar esta interacción</a:t>
            </a:r>
            <a:endParaRPr lang="en-US" dirty="0"/>
          </a:p>
        </p:txBody>
      </p:sp>
    </p:spTree>
    <p:extLst>
      <p:ext uri="{BB962C8B-B14F-4D97-AF65-F5344CB8AC3E}">
        <p14:creationId xmlns:p14="http://schemas.microsoft.com/office/powerpoint/2010/main" val="3873671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AB22B7-8BC0-43D1-AEA8-2162699612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6" name="Object 5" hidden="1">
                        <a:extLst>
                          <a:ext uri="{FF2B5EF4-FFF2-40B4-BE49-F238E27FC236}">
                            <a16:creationId xmlns:a16="http://schemas.microsoft.com/office/drawing/2014/main" id="{DDAB22B7-8BC0-43D1-AEA8-2162699612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3B08B00-02B7-4CF3-AFF5-C0485490448C}"/>
              </a:ext>
            </a:extLst>
          </p:cNvPr>
          <p:cNvSpPr>
            <a:spLocks noGrp="1"/>
          </p:cNvSpPr>
          <p:nvPr>
            <p:ph type="title"/>
          </p:nvPr>
        </p:nvSpPr>
        <p:spPr/>
        <p:txBody>
          <a:bodyPr vert="horz"/>
          <a:lstStyle/>
          <a:p>
            <a:r>
              <a:rPr lang="en-US" sz="1800" b="1">
                <a:solidFill>
                  <a:schemeClr val="tx1"/>
                </a:solidFill>
                <a:latin typeface="+mj-lt"/>
                <a:ea typeface="+mj-ea"/>
                <a:cs typeface="+mj-cs"/>
              </a:rPr>
              <a:t>Operating Playbook Guidance</a:t>
            </a:r>
            <a:endParaRPr lang="en-US"/>
          </a:p>
        </p:txBody>
      </p:sp>
      <p:sp>
        <p:nvSpPr>
          <p:cNvPr id="2" name="Text Placeholder 1">
            <a:extLst>
              <a:ext uri="{FF2B5EF4-FFF2-40B4-BE49-F238E27FC236}">
                <a16:creationId xmlns:a16="http://schemas.microsoft.com/office/drawing/2014/main" id="{01DE66B0-9516-4D09-99F8-E95EAE0152E6}"/>
              </a:ext>
            </a:extLst>
          </p:cNvPr>
          <p:cNvSpPr>
            <a:spLocks noGrp="1"/>
          </p:cNvSpPr>
          <p:nvPr>
            <p:ph idx="1"/>
          </p:nvPr>
        </p:nvSpPr>
        <p:spPr>
          <a:xfrm>
            <a:off x="457201" y="991982"/>
            <a:ext cx="8229599" cy="3859797"/>
          </a:xfrm>
        </p:spPr>
        <p:txBody>
          <a:bodyPr>
            <a:normAutofit/>
          </a:bodyPr>
          <a:lstStyle/>
          <a:p>
            <a:pPr marL="0" indent="0">
              <a:buNone/>
            </a:pPr>
            <a:r>
              <a:rPr lang="en-US" sz="1100" b="1" u="sng">
                <a:solidFill>
                  <a:schemeClr val="tx1"/>
                </a:solidFill>
                <a:latin typeface="+mn-lt"/>
                <a:ea typeface="+mn-ea"/>
                <a:cs typeface="+mn-cs"/>
              </a:rPr>
              <a:t>Objective: </a:t>
            </a:r>
          </a:p>
          <a:p>
            <a:r>
              <a:rPr lang="en-US" sz="1100">
                <a:solidFill>
                  <a:schemeClr val="tx1"/>
                </a:solidFill>
                <a:latin typeface="+mn-lt"/>
                <a:ea typeface="+mn-ea"/>
                <a:cs typeface="+mn-cs"/>
              </a:rPr>
              <a:t>The Operating Playbooks should provide detailed methods and procedures for </a:t>
            </a:r>
            <a:r>
              <a:rPr lang="en-US" sz="1100" i="1">
                <a:solidFill>
                  <a:schemeClr val="tx1"/>
                </a:solidFill>
                <a:latin typeface="+mn-lt"/>
                <a:ea typeface="+mn-ea"/>
                <a:cs typeface="+mn-cs"/>
              </a:rPr>
              <a:t>how to operationalize areas of change</a:t>
            </a:r>
          </a:p>
          <a:p>
            <a:pPr marL="171450" indent="-171450">
              <a:buFont typeface="Arial" panose="020B0604020202020204" pitchFamily="34" charset="0"/>
              <a:buChar char="•"/>
            </a:pPr>
            <a:r>
              <a:rPr lang="en-US" sz="1100">
                <a:solidFill>
                  <a:schemeClr val="tx1"/>
                </a:solidFill>
                <a:latin typeface="+mn-lt"/>
                <a:ea typeface="+mn-ea"/>
                <a:cs typeface="+mn-cs"/>
              </a:rPr>
              <a:t>The level of detail should be sufficient that anyone using the playbook can clearly follow the steps </a:t>
            </a:r>
          </a:p>
          <a:p>
            <a:r>
              <a:rPr lang="en-US" sz="1100">
                <a:solidFill>
                  <a:schemeClr val="tx1"/>
                </a:solidFill>
                <a:latin typeface="+mn-lt"/>
                <a:ea typeface="+mn-ea"/>
                <a:cs typeface="+mn-cs"/>
              </a:rPr>
              <a:t>F</a:t>
            </a:r>
            <a:r>
              <a:rPr lang="en-US" sz="1100"/>
              <a:t>or Network, Operations and any processes related to entangled customers the Operating Playbooks will be reviewed by the buyer to confirm Day 1 readiness prior to sign off of the commercial agreements</a:t>
            </a:r>
            <a:endParaRPr lang="en-US" sz="1100">
              <a:solidFill>
                <a:schemeClr val="tx1"/>
              </a:solidFill>
              <a:latin typeface="+mn-lt"/>
              <a:ea typeface="+mn-ea"/>
              <a:cs typeface="+mn-cs"/>
            </a:endParaRPr>
          </a:p>
          <a:p>
            <a:pPr marL="0" indent="0">
              <a:buNone/>
            </a:pPr>
            <a:r>
              <a:rPr lang="en-US" sz="1100" b="1" u="sng">
                <a:solidFill>
                  <a:schemeClr val="tx1"/>
                </a:solidFill>
                <a:latin typeface="+mn-lt"/>
                <a:ea typeface="+mn-ea"/>
                <a:cs typeface="+mn-cs"/>
              </a:rPr>
              <a:t>The playbook should include:</a:t>
            </a:r>
            <a:endParaRPr lang="en-US" sz="1100" b="1">
              <a:solidFill>
                <a:schemeClr val="tx1"/>
              </a:solidFill>
              <a:latin typeface="+mn-lt"/>
              <a:ea typeface="+mn-ea"/>
              <a:cs typeface="+mn-cs"/>
            </a:endParaRPr>
          </a:p>
          <a:p>
            <a:r>
              <a:rPr lang="en-US" sz="1100">
                <a:solidFill>
                  <a:schemeClr val="tx1"/>
                </a:solidFill>
                <a:latin typeface="+mn-lt"/>
                <a:ea typeface="+mn-ea"/>
                <a:cs typeface="+mn-cs"/>
              </a:rPr>
              <a:t>Detailed step-by-step assumptions including roles and responsibilities for areas of change and supporting process flows</a:t>
            </a:r>
          </a:p>
          <a:p>
            <a:pPr lvl="1"/>
            <a:r>
              <a:rPr lang="en-US" sz="900"/>
              <a:t>Systems, applications and tools required</a:t>
            </a:r>
          </a:p>
          <a:p>
            <a:pPr lvl="1"/>
            <a:r>
              <a:rPr lang="en-US" sz="900"/>
              <a:t>SLAs and commitments, if applicable</a:t>
            </a:r>
          </a:p>
          <a:p>
            <a:pPr lvl="1"/>
            <a:r>
              <a:rPr lang="en-US" sz="900"/>
              <a:t>Escalation path</a:t>
            </a:r>
          </a:p>
          <a:p>
            <a:pPr lvl="1"/>
            <a:r>
              <a:rPr lang="en-US" sz="900"/>
              <a:t>Method of communication </a:t>
            </a:r>
          </a:p>
          <a:p>
            <a:r>
              <a:rPr lang="en-US" sz="1100"/>
              <a:t>For areas where nothing is changing from the current state, please document that nothing is changing for completeness</a:t>
            </a:r>
          </a:p>
          <a:p>
            <a:r>
              <a:rPr lang="en-US" sz="1100">
                <a:solidFill>
                  <a:schemeClr val="tx1"/>
                </a:solidFill>
                <a:latin typeface="+mn-lt"/>
                <a:ea typeface="+mn-ea"/>
                <a:cs typeface="+mn-cs"/>
              </a:rPr>
              <a:t>Key contacts (or situation room) available to support any questions during the implementation of changes</a:t>
            </a:r>
          </a:p>
        </p:txBody>
      </p:sp>
      <p:sp>
        <p:nvSpPr>
          <p:cNvPr id="3" name="Rectangle 2">
            <a:extLst>
              <a:ext uri="{FF2B5EF4-FFF2-40B4-BE49-F238E27FC236}">
                <a16:creationId xmlns:a16="http://schemas.microsoft.com/office/drawing/2014/main" id="{36134DC1-9F67-41F6-BCA8-340B27B503AF}"/>
              </a:ext>
            </a:extLst>
          </p:cNvPr>
          <p:cNvSpPr/>
          <p:nvPr/>
        </p:nvSpPr>
        <p:spPr>
          <a:xfrm>
            <a:off x="416256" y="4036950"/>
            <a:ext cx="831148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Functional leads will be required to sign off that the playbooks contain all relevant information for Day 1</a:t>
            </a:r>
          </a:p>
        </p:txBody>
      </p:sp>
      <p:sp>
        <p:nvSpPr>
          <p:cNvPr id="5" name="Slide Number Placeholder 4">
            <a:extLst>
              <a:ext uri="{FF2B5EF4-FFF2-40B4-BE49-F238E27FC236}">
                <a16:creationId xmlns:a16="http://schemas.microsoft.com/office/drawing/2014/main" id="{DB4DFCF2-6CCA-4B1F-B15A-FC1B32A9125B}"/>
              </a:ext>
            </a:extLst>
          </p:cNvPr>
          <p:cNvSpPr>
            <a:spLocks noGrp="1"/>
          </p:cNvSpPr>
          <p:nvPr>
            <p:ph type="sldNum" sz="quarter" idx="4"/>
          </p:nvPr>
        </p:nvSpPr>
        <p:spPr/>
        <p:txBody>
          <a:bodyPr/>
          <a:lstStyle/>
          <a:p>
            <a:fld id="{16AF6406-B3F2-AD48-99A2-24C88CF40A2E}" type="slidenum">
              <a:rPr lang="en-US" smtClean="0"/>
              <a:pPr/>
              <a:t>2</a:t>
            </a:fld>
            <a:endParaRPr lang="en-US"/>
          </a:p>
        </p:txBody>
      </p:sp>
    </p:spTree>
    <p:extLst>
      <p:ext uri="{BB962C8B-B14F-4D97-AF65-F5344CB8AC3E}">
        <p14:creationId xmlns:p14="http://schemas.microsoft.com/office/powerpoint/2010/main" val="2534716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59A40D-1D6C-4F79-9803-47D34D704E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5" name="Object 4" hidden="1">
                        <a:extLst>
                          <a:ext uri="{FF2B5EF4-FFF2-40B4-BE49-F238E27FC236}">
                            <a16:creationId xmlns:a16="http://schemas.microsoft.com/office/drawing/2014/main" id="{5359A40D-1D6C-4F79-9803-47D34D704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0455FD-8E6D-4024-9DAB-28DA8BD0A790}"/>
              </a:ext>
            </a:extLst>
          </p:cNvPr>
          <p:cNvSpPr>
            <a:spLocks noGrp="1"/>
          </p:cNvSpPr>
          <p:nvPr>
            <p:ph type="title"/>
          </p:nvPr>
        </p:nvSpPr>
        <p:spPr/>
        <p:txBody>
          <a:bodyPr vert="horz"/>
          <a:lstStyle/>
          <a:p>
            <a:r>
              <a:rPr lang="en-US"/>
              <a:t>Sample Playbook Outline - Operations</a:t>
            </a:r>
          </a:p>
        </p:txBody>
      </p:sp>
      <p:sp>
        <p:nvSpPr>
          <p:cNvPr id="4" name="Slide Number Placeholder 3">
            <a:extLst>
              <a:ext uri="{FF2B5EF4-FFF2-40B4-BE49-F238E27FC236}">
                <a16:creationId xmlns:a16="http://schemas.microsoft.com/office/drawing/2014/main" id="{0B35B3B4-2C32-438D-84BD-D2EE2FFF0144}"/>
              </a:ext>
            </a:extLst>
          </p:cNvPr>
          <p:cNvSpPr>
            <a:spLocks noGrp="1"/>
          </p:cNvSpPr>
          <p:nvPr>
            <p:ph type="sldNum" sz="quarter" idx="4"/>
          </p:nvPr>
        </p:nvSpPr>
        <p:spPr/>
        <p:txBody>
          <a:bodyPr/>
          <a:lstStyle/>
          <a:p>
            <a:fld id="{16AF6406-B3F2-AD48-99A2-24C88CF40A2E}" type="slidenum">
              <a:rPr lang="en-US" smtClean="0"/>
              <a:pPr/>
              <a:t>3</a:t>
            </a:fld>
            <a:endParaRPr lang="en-US"/>
          </a:p>
        </p:txBody>
      </p:sp>
      <p:sp>
        <p:nvSpPr>
          <p:cNvPr id="9" name="Content Placeholder 8">
            <a:extLst>
              <a:ext uri="{FF2B5EF4-FFF2-40B4-BE49-F238E27FC236}">
                <a16:creationId xmlns:a16="http://schemas.microsoft.com/office/drawing/2014/main" id="{25F755BE-76E1-43D1-BF5E-CFAE2EA14CFD}"/>
              </a:ext>
            </a:extLst>
          </p:cNvPr>
          <p:cNvSpPr>
            <a:spLocks noGrp="1"/>
          </p:cNvSpPr>
          <p:nvPr>
            <p:ph idx="1"/>
          </p:nvPr>
        </p:nvSpPr>
        <p:spPr/>
        <p:txBody>
          <a:bodyPr/>
          <a:lstStyle/>
          <a:p>
            <a:r>
              <a:rPr lang="en-US"/>
              <a:t>Operational Overview of the Sale to </a:t>
            </a:r>
            <a:r>
              <a:rPr lang="en-US" err="1"/>
              <a:t>Stonepeak</a:t>
            </a:r>
            <a:endParaRPr lang="en-US"/>
          </a:p>
          <a:p>
            <a:r>
              <a:rPr lang="en-US"/>
              <a:t>Objectives for Day 1</a:t>
            </a:r>
          </a:p>
          <a:p>
            <a:r>
              <a:rPr lang="en-US"/>
              <a:t>Assumptions</a:t>
            </a:r>
          </a:p>
          <a:p>
            <a:r>
              <a:rPr lang="en-US"/>
              <a:t>Support Model</a:t>
            </a:r>
          </a:p>
          <a:p>
            <a:r>
              <a:rPr lang="en-US"/>
              <a:t>Process</a:t>
            </a:r>
          </a:p>
          <a:p>
            <a:r>
              <a:rPr lang="en-US"/>
              <a:t>Engaging the Sit Room</a:t>
            </a:r>
          </a:p>
          <a:p>
            <a:r>
              <a:rPr lang="en-US"/>
              <a:t>Contacts and Escalation</a:t>
            </a:r>
          </a:p>
          <a:p>
            <a:r>
              <a:rPr lang="en-US"/>
              <a:t>Recording of Playbook Training</a:t>
            </a:r>
          </a:p>
          <a:p>
            <a:r>
              <a:rPr lang="en-US"/>
              <a:t>Version History and Playbook Document Location</a:t>
            </a:r>
          </a:p>
        </p:txBody>
      </p:sp>
    </p:spTree>
    <p:extLst>
      <p:ext uri="{BB962C8B-B14F-4D97-AF65-F5344CB8AC3E}">
        <p14:creationId xmlns:p14="http://schemas.microsoft.com/office/powerpoint/2010/main" val="24927645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BD816C-9CBA-41C3-9675-36F91D5A73BC}"/>
              </a:ext>
            </a:extLst>
          </p:cNvPr>
          <p:cNvGraphicFramePr>
            <a:graphicFrameLocks noChangeAspect="1"/>
          </p:cNvGraphicFramePr>
          <p:nvPr>
            <p:custDataLst>
              <p:tags r:id="rId1"/>
            </p:custDataLst>
            <p:extLst>
              <p:ext uri="{D42A27DB-BD31-4B8C-83A1-F6EECF244321}">
                <p14:modId xmlns:p14="http://schemas.microsoft.com/office/powerpoint/2010/main" val="2734913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6" name="Object 5" hidden="1">
                        <a:extLst>
                          <a:ext uri="{FF2B5EF4-FFF2-40B4-BE49-F238E27FC236}">
                            <a16:creationId xmlns:a16="http://schemas.microsoft.com/office/drawing/2014/main" id="{5DBD816C-9CBA-41C3-9675-36F91D5A73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2DE544-90E0-485F-B2E7-47B454A3D07B}"/>
              </a:ext>
            </a:extLst>
          </p:cNvPr>
          <p:cNvSpPr>
            <a:spLocks noGrp="1"/>
          </p:cNvSpPr>
          <p:nvPr>
            <p:ph type="title"/>
          </p:nvPr>
        </p:nvSpPr>
        <p:spPr/>
        <p:txBody>
          <a:bodyPr vert="horz"/>
          <a:lstStyle/>
          <a:p>
            <a:r>
              <a:rPr lang="en-US"/>
              <a:t>Process Change Template</a:t>
            </a:r>
          </a:p>
        </p:txBody>
      </p:sp>
      <p:sp>
        <p:nvSpPr>
          <p:cNvPr id="3" name="Content Placeholder 2">
            <a:extLst>
              <a:ext uri="{FF2B5EF4-FFF2-40B4-BE49-F238E27FC236}">
                <a16:creationId xmlns:a16="http://schemas.microsoft.com/office/drawing/2014/main" id="{E70D7511-F6AE-4135-8713-5FAE8197D4A0}"/>
              </a:ext>
            </a:extLst>
          </p:cNvPr>
          <p:cNvSpPr>
            <a:spLocks noGrp="1"/>
          </p:cNvSpPr>
          <p:nvPr>
            <p:ph idx="1"/>
          </p:nvPr>
        </p:nvSpPr>
        <p:spPr/>
        <p:txBody>
          <a:bodyPr/>
          <a:lstStyle/>
          <a:p>
            <a:r>
              <a:rPr lang="en-US"/>
              <a:t>The process change template is a mechanism for </a:t>
            </a:r>
            <a:r>
              <a:rPr lang="en-US" i="1"/>
              <a:t>summarizing</a:t>
            </a:r>
            <a:r>
              <a:rPr lang="en-US"/>
              <a:t> key processes and procedures detailed in your playbook</a:t>
            </a:r>
          </a:p>
          <a:p>
            <a:r>
              <a:rPr lang="en-US"/>
              <a:t>Using the detail in your playbook the template should be populated for </a:t>
            </a:r>
            <a:r>
              <a:rPr lang="en-US" u="sng"/>
              <a:t>each</a:t>
            </a:r>
            <a:r>
              <a:rPr lang="en-US"/>
              <a:t> area of change in parallel</a:t>
            </a:r>
          </a:p>
          <a:p>
            <a:r>
              <a:rPr lang="en-US"/>
              <a:t>The template will be used to share key changes with business leaders and stakeholders</a:t>
            </a:r>
          </a:p>
          <a:p>
            <a:r>
              <a:rPr lang="en-US" err="1"/>
              <a:t>Stonepeak</a:t>
            </a:r>
            <a:r>
              <a:rPr lang="en-US"/>
              <a:t> will want to review the summaries</a:t>
            </a:r>
          </a:p>
        </p:txBody>
      </p:sp>
      <p:sp>
        <p:nvSpPr>
          <p:cNvPr id="4" name="Slide Number Placeholder 3">
            <a:extLst>
              <a:ext uri="{FF2B5EF4-FFF2-40B4-BE49-F238E27FC236}">
                <a16:creationId xmlns:a16="http://schemas.microsoft.com/office/drawing/2014/main" id="{B11915DA-D17C-40E5-9F27-38110639CFB7}"/>
              </a:ext>
            </a:extLst>
          </p:cNvPr>
          <p:cNvSpPr>
            <a:spLocks noGrp="1"/>
          </p:cNvSpPr>
          <p:nvPr>
            <p:ph type="sldNum" sz="quarter" idx="4"/>
          </p:nvPr>
        </p:nvSpPr>
        <p:spPr/>
        <p:txBody>
          <a:bodyPr/>
          <a:lstStyle/>
          <a:p>
            <a:fld id="{16AF6406-B3F2-AD48-99A2-24C88CF40A2E}" type="slidenum">
              <a:rPr lang="en-US" smtClean="0"/>
              <a:pPr/>
              <a:t>4</a:t>
            </a:fld>
            <a:endParaRPr lang="en-US"/>
          </a:p>
        </p:txBody>
      </p:sp>
    </p:spTree>
    <p:extLst>
      <p:ext uri="{BB962C8B-B14F-4D97-AF65-F5344CB8AC3E}">
        <p14:creationId xmlns:p14="http://schemas.microsoft.com/office/powerpoint/2010/main" val="315087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BD816C-9CBA-41C3-9675-36F91D5A73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6" name="Object 5" hidden="1">
                        <a:extLst>
                          <a:ext uri="{FF2B5EF4-FFF2-40B4-BE49-F238E27FC236}">
                            <a16:creationId xmlns:a16="http://schemas.microsoft.com/office/drawing/2014/main" id="{5DBD816C-9CBA-41C3-9675-36F91D5A73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2DE544-90E0-485F-B2E7-47B454A3D07B}"/>
              </a:ext>
            </a:extLst>
          </p:cNvPr>
          <p:cNvSpPr>
            <a:spLocks noGrp="1"/>
          </p:cNvSpPr>
          <p:nvPr>
            <p:ph type="title"/>
          </p:nvPr>
        </p:nvSpPr>
        <p:spPr/>
        <p:txBody>
          <a:bodyPr vert="horz"/>
          <a:lstStyle/>
          <a:p>
            <a:r>
              <a:rPr lang="es-AR" dirty="0"/>
              <a:t>P</a:t>
            </a:r>
            <a:r>
              <a:rPr lang="en-US" dirty="0"/>
              <a:t>rocess included</a:t>
            </a:r>
          </a:p>
        </p:txBody>
      </p:sp>
      <p:sp>
        <p:nvSpPr>
          <p:cNvPr id="3" name="Content Placeholder 2">
            <a:extLst>
              <a:ext uri="{FF2B5EF4-FFF2-40B4-BE49-F238E27FC236}">
                <a16:creationId xmlns:a16="http://schemas.microsoft.com/office/drawing/2014/main" id="{E70D7511-F6AE-4135-8713-5FAE8197D4A0}"/>
              </a:ext>
            </a:extLst>
          </p:cNvPr>
          <p:cNvSpPr>
            <a:spLocks noGrp="1"/>
          </p:cNvSpPr>
          <p:nvPr>
            <p:ph idx="1"/>
          </p:nvPr>
        </p:nvSpPr>
        <p:spPr/>
        <p:txBody>
          <a:bodyPr/>
          <a:lstStyle/>
          <a:p>
            <a:r>
              <a:rPr lang="en-US" dirty="0">
                <a:solidFill>
                  <a:srgbClr val="000000"/>
                </a:solidFill>
                <a:latin typeface="Arial" panose="020B0604020202020204"/>
              </a:rPr>
              <a:t>St. Croix Billing Request Management (Transfer)</a:t>
            </a:r>
          </a:p>
          <a:p>
            <a:r>
              <a:rPr lang="en-US" dirty="0">
                <a:solidFill>
                  <a:srgbClr val="000000"/>
                </a:solidFill>
                <a:latin typeface="Arial" panose="020B0604020202020204"/>
              </a:rPr>
              <a:t>Routing Between Regions-  First TouchPoint – Latam Merged (Process Change)</a:t>
            </a:r>
          </a:p>
          <a:p>
            <a:r>
              <a:rPr lang="en-US" dirty="0">
                <a:solidFill>
                  <a:srgbClr val="000000"/>
                </a:solidFill>
                <a:latin typeface="Arial" panose="020B0604020202020204"/>
              </a:rPr>
              <a:t>ETL´s disputes research for MX,PN,CR and St. Croix  </a:t>
            </a:r>
            <a:r>
              <a:rPr lang="en-US">
                <a:solidFill>
                  <a:srgbClr val="000000"/>
                </a:solidFill>
                <a:latin typeface="Arial" panose="020B0604020202020204"/>
              </a:rPr>
              <a:t>(Interaction)</a:t>
            </a:r>
            <a:endParaRPr lang="en-US" dirty="0">
              <a:solidFill>
                <a:srgbClr val="000000"/>
              </a:solidFill>
              <a:latin typeface="Arial" panose="020B0604020202020204"/>
            </a:endParaRPr>
          </a:p>
          <a:p>
            <a:r>
              <a:rPr lang="en-US" dirty="0">
                <a:solidFill>
                  <a:srgbClr val="000000"/>
                </a:solidFill>
              </a:rPr>
              <a:t>BAC/Fusion/Tie Code Tool/</a:t>
            </a:r>
            <a:r>
              <a:rPr lang="en-US" dirty="0" err="1">
                <a:solidFill>
                  <a:srgbClr val="000000"/>
                </a:solidFill>
              </a:rPr>
              <a:t>Reportosaurus</a:t>
            </a:r>
            <a:r>
              <a:rPr lang="en-US" dirty="0">
                <a:solidFill>
                  <a:srgbClr val="000000"/>
                </a:solidFill>
              </a:rPr>
              <a:t> Support </a:t>
            </a:r>
            <a:r>
              <a:rPr lang="en-US" dirty="0"/>
              <a:t>XXX (Interaction)</a:t>
            </a:r>
          </a:p>
          <a:p>
            <a:r>
              <a:rPr lang="en-US" dirty="0"/>
              <a:t>CCAT/Oracle/SAP Support-</a:t>
            </a:r>
            <a:r>
              <a:rPr lang="en-US" dirty="0">
                <a:sym typeface="Wingdings" panose="05000000000000000000" pitchFamily="2" charset="2"/>
              </a:rPr>
              <a:t></a:t>
            </a:r>
            <a:r>
              <a:rPr lang="en-US" dirty="0">
                <a:highlight>
                  <a:srgbClr val="FFFF00"/>
                </a:highlight>
                <a:sym typeface="Wingdings" panose="05000000000000000000" pitchFamily="2" charset="2"/>
              </a:rPr>
              <a:t> IT</a:t>
            </a:r>
            <a:endParaRPr lang="en-US" dirty="0">
              <a:highlight>
                <a:srgbClr val="FFFF00"/>
              </a:highlight>
            </a:endParaRPr>
          </a:p>
          <a:p>
            <a:endParaRPr lang="en-US" dirty="0"/>
          </a:p>
        </p:txBody>
      </p:sp>
      <p:sp>
        <p:nvSpPr>
          <p:cNvPr id="4" name="Slide Number Placeholder 3">
            <a:extLst>
              <a:ext uri="{FF2B5EF4-FFF2-40B4-BE49-F238E27FC236}">
                <a16:creationId xmlns:a16="http://schemas.microsoft.com/office/drawing/2014/main" id="{B11915DA-D17C-40E5-9F27-38110639CFB7}"/>
              </a:ext>
            </a:extLst>
          </p:cNvPr>
          <p:cNvSpPr>
            <a:spLocks noGrp="1"/>
          </p:cNvSpPr>
          <p:nvPr>
            <p:ph type="sldNum" sz="quarter" idx="4"/>
          </p:nvPr>
        </p:nvSpPr>
        <p:spPr/>
        <p:txBody>
          <a:bodyPr/>
          <a:lstStyle/>
          <a:p>
            <a:fld id="{16AF6406-B3F2-AD48-99A2-24C88CF40A2E}" type="slidenum">
              <a:rPr lang="en-US" smtClean="0"/>
              <a:pPr/>
              <a:t>5</a:t>
            </a:fld>
            <a:endParaRPr lang="en-US"/>
          </a:p>
        </p:txBody>
      </p:sp>
    </p:spTree>
    <p:extLst>
      <p:ext uri="{BB962C8B-B14F-4D97-AF65-F5344CB8AC3E}">
        <p14:creationId xmlns:p14="http://schemas.microsoft.com/office/powerpoint/2010/main" val="4126357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Julie Hollenbeck</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t. Croix (624) will be managed by Latam</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Billing Coordinators will still have access to  ST. Croix EON Orders </a:t>
            </a: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N/A</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6</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457202" y="268929"/>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St. Croix Billing Request Management</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01783"/>
            <a:ext cx="3311439" cy="1371979"/>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is is an activity that is being transferred from NA to LAT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icket for St. Croix Legal entity is submitted trough BAC/Corporate Portal</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Latam Billing Coordinators receives tickets</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Depending on the ticket type, Latam Billing Coordinator make research on different systems: </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EON</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Siebel</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AM</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Documentum</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Kenan</a:t>
            </a:r>
          </a:p>
          <a:p>
            <a:pPr marL="628650" lvl="1" indent="-171450" defTabSz="665550">
              <a:lnSpc>
                <a:spcPct val="60000"/>
              </a:lnSpc>
              <a:buClr>
                <a:srgbClr val="0067B1"/>
              </a:buClr>
              <a:buFont typeface="Arial" panose="020B0604020202020204" pitchFamily="34" charset="0"/>
              <a:buChar char="•"/>
            </a:pPr>
            <a:r>
              <a:rPr lang="en-US" sz="900" dirty="0">
                <a:solidFill>
                  <a:srgbClr val="000000"/>
                </a:solidFill>
                <a:latin typeface="Arial" panose="020B0604020202020204"/>
              </a:rPr>
              <a:t>LDW reports </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789102" y="1759459"/>
            <a:ext cx="602279"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34" name="TextBox 44">
            <a:extLst>
              <a:ext uri="{FF2B5EF4-FFF2-40B4-BE49-F238E27FC236}">
                <a16:creationId xmlns:a16="http://schemas.microsoft.com/office/drawing/2014/main" id="{BD5F738F-5A79-44EB-8C28-5572173444C0}"/>
              </a:ext>
            </a:extLst>
          </p:cNvPr>
          <p:cNvSpPr txBox="1"/>
          <p:nvPr/>
        </p:nvSpPr>
        <p:spPr>
          <a:xfrm>
            <a:off x="4488886" y="1759459"/>
            <a:ext cx="602279"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sp>
        <p:nvSpPr>
          <p:cNvPr id="35" name="TextBox 44">
            <a:extLst>
              <a:ext uri="{FF2B5EF4-FFF2-40B4-BE49-F238E27FC236}">
                <a16:creationId xmlns:a16="http://schemas.microsoft.com/office/drawing/2014/main" id="{DAA2A2F2-67C0-4BBF-BAC9-C8B418C04E10}"/>
              </a:ext>
            </a:extLst>
          </p:cNvPr>
          <p:cNvSpPr txBox="1"/>
          <p:nvPr/>
        </p:nvSpPr>
        <p:spPr>
          <a:xfrm>
            <a:off x="5143514" y="1759459"/>
            <a:ext cx="602279"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earch Request</a:t>
            </a:r>
          </a:p>
        </p:txBody>
      </p:sp>
      <p:sp>
        <p:nvSpPr>
          <p:cNvPr id="40" name="TextBox 44">
            <a:extLst>
              <a:ext uri="{FF2B5EF4-FFF2-40B4-BE49-F238E27FC236}">
                <a16:creationId xmlns:a16="http://schemas.microsoft.com/office/drawing/2014/main" id="{B0B2C13F-F096-46B1-AA15-C1B127EAE058}"/>
              </a:ext>
            </a:extLst>
          </p:cNvPr>
          <p:cNvSpPr txBox="1"/>
          <p:nvPr/>
        </p:nvSpPr>
        <p:spPr>
          <a:xfrm>
            <a:off x="5798142" y="1759572"/>
            <a:ext cx="602279" cy="338328"/>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orrect </a:t>
            </a: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Billing Error</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452770" y="1759572"/>
            <a:ext cx="602279" cy="338328"/>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Issue Credit Note</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107400" y="1759459"/>
            <a:ext cx="602279"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4" name="Conector recto de flecha 3">
            <a:extLst>
              <a:ext uri="{FF2B5EF4-FFF2-40B4-BE49-F238E27FC236}">
                <a16:creationId xmlns:a16="http://schemas.microsoft.com/office/drawing/2014/main" id="{844FD51E-0DBE-4E6F-BEA2-82C9FD0FEA71}"/>
              </a:ext>
            </a:extLst>
          </p:cNvPr>
          <p:cNvCxnSpPr>
            <a:stCxn id="33" idx="3"/>
            <a:endCxn id="34" idx="1"/>
          </p:cNvCxnSpPr>
          <p:nvPr/>
        </p:nvCxnSpPr>
        <p:spPr>
          <a:xfrm>
            <a:off x="4391381" y="1928736"/>
            <a:ext cx="975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35" idx="1"/>
          </p:cNvCxnSpPr>
          <p:nvPr/>
        </p:nvCxnSpPr>
        <p:spPr>
          <a:xfrm>
            <a:off x="5091165" y="1928736"/>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Conector recto de flecha 58">
            <a:extLst>
              <a:ext uri="{FF2B5EF4-FFF2-40B4-BE49-F238E27FC236}">
                <a16:creationId xmlns:a16="http://schemas.microsoft.com/office/drawing/2014/main" id="{B50B6AB6-0097-462B-A870-AC22D1031350}"/>
              </a:ext>
            </a:extLst>
          </p:cNvPr>
          <p:cNvCxnSpPr>
            <a:cxnSpLocks/>
            <a:stCxn id="35" idx="3"/>
            <a:endCxn id="40" idx="1"/>
          </p:cNvCxnSpPr>
          <p:nvPr/>
        </p:nvCxnSpPr>
        <p:spPr>
          <a:xfrm>
            <a:off x="5745793" y="1928736"/>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400421" y="1928736"/>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a:off x="7055049" y="1928736"/>
            <a:ext cx="5235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3292476716"/>
              </p:ext>
            </p:extLst>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a:solidFill>
                            <a:schemeClr val="tx1"/>
                          </a:solidFill>
                        </a:rPr>
                        <a:t>BAC</a:t>
                      </a:r>
                    </a:p>
                    <a:p>
                      <a:pPr marL="57150" indent="-57150">
                        <a:buClr>
                          <a:schemeClr val="tx2"/>
                        </a:buClr>
                        <a:buFont typeface="Arial" panose="020B0604020202020204" pitchFamily="34" charset="0"/>
                        <a:buChar char="•"/>
                      </a:pPr>
                      <a:r>
                        <a:rPr lang="es-AR" sz="800" b="0" dirty="0">
                          <a:solidFill>
                            <a:schemeClr val="tx1"/>
                          </a:solidFill>
                        </a:rPr>
                        <a:t>Control Center</a:t>
                      </a:r>
                    </a:p>
                    <a:p>
                      <a:pPr marL="57150" indent="-57150">
                        <a:buClr>
                          <a:schemeClr val="tx2"/>
                        </a:buClr>
                        <a:buFont typeface="Arial" panose="020B0604020202020204" pitchFamily="34" charset="0"/>
                        <a:buChar char="•"/>
                      </a:pPr>
                      <a:r>
                        <a:rPr lang="es-AR" sz="800" b="0" dirty="0">
                          <a:solidFill>
                            <a:schemeClr val="tx1"/>
                          </a:solidFill>
                        </a:rPr>
                        <a:t>EON</a:t>
                      </a:r>
                    </a:p>
                    <a:p>
                      <a:pPr marL="57150" indent="-57150">
                        <a:buClr>
                          <a:schemeClr val="tx2"/>
                        </a:buClr>
                        <a:buFont typeface="Arial" panose="020B0604020202020204" pitchFamily="34" charset="0"/>
                        <a:buChar char="•"/>
                      </a:pPr>
                      <a:r>
                        <a:rPr lang="es-AR" sz="800" b="0" dirty="0">
                          <a:solidFill>
                            <a:schemeClr val="tx1"/>
                          </a:solidFill>
                        </a:rPr>
                        <a:t>Siebel</a:t>
                      </a: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r>
                        <a:rPr lang="es-AR" sz="800" b="0" dirty="0" err="1">
                          <a:solidFill>
                            <a:schemeClr val="tx1"/>
                          </a:solidFill>
                        </a:rPr>
                        <a:t>Documentum</a:t>
                      </a:r>
                      <a:endParaRPr lang="es-AR" sz="800" b="0" dirty="0">
                        <a:solidFill>
                          <a:schemeClr val="tx1"/>
                        </a:solidFill>
                      </a:endParaRPr>
                    </a:p>
                    <a:p>
                      <a:pPr marL="57150" indent="-57150">
                        <a:buClr>
                          <a:srgbClr val="0075C9"/>
                        </a:buClr>
                        <a:buFont typeface="Arial" panose="020B0604020202020204" pitchFamily="34" charset="0"/>
                        <a:buChar char="•"/>
                      </a:pPr>
                      <a:r>
                        <a:rPr lang="es-AR" sz="800" b="0" dirty="0">
                          <a:solidFill>
                            <a:schemeClr val="tx1"/>
                          </a:solidFill>
                        </a:rPr>
                        <a:t>Kenan</a:t>
                      </a:r>
                    </a:p>
                    <a:p>
                      <a:pPr marL="57150" indent="-57150">
                        <a:buClr>
                          <a:srgbClr val="0075C9"/>
                        </a:buClr>
                        <a:buFont typeface="Arial" panose="020B0604020202020204" pitchFamily="34" charset="0"/>
                        <a:buChar char="•"/>
                      </a:pPr>
                      <a:r>
                        <a:rPr lang="es-AR" sz="800" b="0" dirty="0">
                          <a:solidFill>
                            <a:schemeClr val="tx1"/>
                          </a:solidFill>
                        </a:rPr>
                        <a:t>LDW </a:t>
                      </a:r>
                      <a:r>
                        <a:rPr lang="es-AR" sz="800" b="0" dirty="0" err="1">
                          <a:solidFill>
                            <a:schemeClr val="tx1"/>
                          </a:solidFill>
                        </a:rPr>
                        <a:t>reports</a:t>
                      </a: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Tree>
    <p:extLst>
      <p:ext uri="{BB962C8B-B14F-4D97-AF65-F5344CB8AC3E}">
        <p14:creationId xmlns:p14="http://schemas.microsoft.com/office/powerpoint/2010/main" val="8088976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2">
            <a:extLst>
              <a:ext uri="{FF2B5EF4-FFF2-40B4-BE49-F238E27FC236}">
                <a16:creationId xmlns:a16="http://schemas.microsoft.com/office/drawing/2014/main" id="{24141C6D-5E4F-46C6-9CFF-32EED42237D6}"/>
              </a:ext>
            </a:extLst>
          </p:cNvPr>
          <p:cNvSpPr>
            <a:spLocks/>
          </p:cNvSpPr>
          <p:nvPr/>
        </p:nvSpPr>
        <p:spPr>
          <a:xfrm>
            <a:off x="4860745" y="965386"/>
            <a:ext cx="1990111" cy="3990995"/>
          </a:xfrm>
          <a:prstGeom prst="rect">
            <a:avLst/>
          </a:prstGeom>
          <a:solidFill>
            <a:schemeClr val="bg1">
              <a:lumMod val="95000"/>
              <a:alpha val="4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a:defRPr/>
            </a:pPr>
            <a:endParaRPr lang="en-US" sz="525" dirty="0">
              <a:solidFill>
                <a:srgbClr val="000000"/>
              </a:solidFill>
            </a:endParaRPr>
          </a:p>
        </p:txBody>
      </p:sp>
      <p:sp>
        <p:nvSpPr>
          <p:cNvPr id="5" name="Rectangle 98">
            <a:extLst>
              <a:ext uri="{FF2B5EF4-FFF2-40B4-BE49-F238E27FC236}">
                <a16:creationId xmlns:a16="http://schemas.microsoft.com/office/drawing/2014/main" id="{4C010045-2BE2-4299-85BC-0F7AC8D08FFD}"/>
              </a:ext>
            </a:extLst>
          </p:cNvPr>
          <p:cNvSpPr>
            <a:spLocks/>
          </p:cNvSpPr>
          <p:nvPr/>
        </p:nvSpPr>
        <p:spPr>
          <a:xfrm>
            <a:off x="797578" y="965386"/>
            <a:ext cx="1995629" cy="3990995"/>
          </a:xfrm>
          <a:prstGeom prst="rect">
            <a:avLst/>
          </a:prstGeom>
          <a:solidFill>
            <a:schemeClr val="bg1">
              <a:lumMod val="95000"/>
              <a:alpha val="4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a:defRPr/>
            </a:pPr>
            <a:endParaRPr lang="en-US" sz="525" dirty="0">
              <a:solidFill>
                <a:srgbClr val="000000"/>
              </a:solidFill>
            </a:endParaRPr>
          </a:p>
        </p:txBody>
      </p:sp>
      <p:cxnSp>
        <p:nvCxnSpPr>
          <p:cNvPr id="7" name="Straight Connector 102">
            <a:extLst>
              <a:ext uri="{FF2B5EF4-FFF2-40B4-BE49-F238E27FC236}">
                <a16:creationId xmlns:a16="http://schemas.microsoft.com/office/drawing/2014/main" id="{37B2ACB8-09B2-442B-A56F-2770A67C9A6E}"/>
              </a:ext>
            </a:extLst>
          </p:cNvPr>
          <p:cNvCxnSpPr>
            <a:cxnSpLocks/>
          </p:cNvCxnSpPr>
          <p:nvPr/>
        </p:nvCxnSpPr>
        <p:spPr>
          <a:xfrm>
            <a:off x="98629" y="1690159"/>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109">
            <a:extLst>
              <a:ext uri="{FF2B5EF4-FFF2-40B4-BE49-F238E27FC236}">
                <a16:creationId xmlns:a16="http://schemas.microsoft.com/office/drawing/2014/main" id="{E68820BD-BE71-4D01-B450-5E98A0B04383}"/>
              </a:ext>
            </a:extLst>
          </p:cNvPr>
          <p:cNvSpPr txBox="1"/>
          <p:nvPr/>
        </p:nvSpPr>
        <p:spPr>
          <a:xfrm>
            <a:off x="121491" y="1084286"/>
            <a:ext cx="576128" cy="307777"/>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1000" b="1" dirty="0">
                <a:solidFill>
                  <a:schemeClr val="accent5"/>
                </a:solidFill>
              </a:rPr>
              <a:t>Role/ Region</a:t>
            </a:r>
          </a:p>
        </p:txBody>
      </p:sp>
      <p:grpSp>
        <p:nvGrpSpPr>
          <p:cNvPr id="11" name="Group 42">
            <a:extLst>
              <a:ext uri="{FF2B5EF4-FFF2-40B4-BE49-F238E27FC236}">
                <a16:creationId xmlns:a16="http://schemas.microsoft.com/office/drawing/2014/main" id="{99E903BA-2B5A-4136-9254-C20261D25C54}"/>
              </a:ext>
            </a:extLst>
          </p:cNvPr>
          <p:cNvGrpSpPr/>
          <p:nvPr>
            <p:custDataLst>
              <p:tags r:id="rId1"/>
            </p:custDataLst>
          </p:nvPr>
        </p:nvGrpSpPr>
        <p:grpSpPr>
          <a:xfrm>
            <a:off x="797577" y="503210"/>
            <a:ext cx="1313445" cy="462177"/>
            <a:chOff x="1076924" y="808460"/>
            <a:chExt cx="2697698" cy="267993"/>
          </a:xfrm>
          <a:solidFill>
            <a:schemeClr val="accent4">
              <a:lumMod val="20000"/>
              <a:lumOff val="80000"/>
            </a:schemeClr>
          </a:solidFill>
        </p:grpSpPr>
        <p:sp>
          <p:nvSpPr>
            <p:cNvPr id="12" name="Freeform: Shape 113">
              <a:extLst>
                <a:ext uri="{FF2B5EF4-FFF2-40B4-BE49-F238E27FC236}">
                  <a16:creationId xmlns:a16="http://schemas.microsoft.com/office/drawing/2014/main" id="{AB7C3D6F-ADC4-43AE-A45F-7364548DC147}"/>
                </a:ext>
              </a:extLst>
            </p:cNvPr>
            <p:cNvSpPr/>
            <p:nvPr>
              <p:custDataLst>
                <p:tags r:id="rId36"/>
              </p:custDataLst>
            </p:nvPr>
          </p:nvSpPr>
          <p:spPr>
            <a:xfrm>
              <a:off x="107692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0" y="457202"/>
                  </a:lnTo>
                  <a:close/>
                </a:path>
              </a:pathLst>
            </a:custGeom>
            <a:grp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3" name="TextBox 114">
              <a:extLst>
                <a:ext uri="{FF2B5EF4-FFF2-40B4-BE49-F238E27FC236}">
                  <a16:creationId xmlns:a16="http://schemas.microsoft.com/office/drawing/2014/main" id="{28FA5A63-8300-46DF-927D-2A5E432F2027}"/>
                </a:ext>
              </a:extLst>
            </p:cNvPr>
            <p:cNvSpPr txBox="1"/>
            <p:nvPr>
              <p:custDataLst>
                <p:tags r:id="rId37"/>
              </p:custDataLst>
            </p:nvPr>
          </p:nvSpPr>
          <p:spPr>
            <a:xfrm>
              <a:off x="1140424" y="827071"/>
              <a:ext cx="2585959"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reate Request</a:t>
              </a:r>
            </a:p>
          </p:txBody>
        </p:sp>
      </p:grpSp>
      <p:grpSp>
        <p:nvGrpSpPr>
          <p:cNvPr id="14" name="Group 41">
            <a:extLst>
              <a:ext uri="{FF2B5EF4-FFF2-40B4-BE49-F238E27FC236}">
                <a16:creationId xmlns:a16="http://schemas.microsoft.com/office/drawing/2014/main" id="{F4F1705B-FC8C-4FAB-9BD4-E8AC4CA3B7F1}"/>
              </a:ext>
            </a:extLst>
          </p:cNvPr>
          <p:cNvGrpSpPr/>
          <p:nvPr>
            <p:custDataLst>
              <p:tags r:id="rId2"/>
            </p:custDataLst>
          </p:nvPr>
        </p:nvGrpSpPr>
        <p:grpSpPr>
          <a:xfrm>
            <a:off x="2174403" y="503209"/>
            <a:ext cx="1316736" cy="466344"/>
            <a:chOff x="3776711" y="808460"/>
            <a:chExt cx="2697698" cy="267993"/>
          </a:xfrm>
          <a:solidFill>
            <a:schemeClr val="accent5">
              <a:lumMod val="20000"/>
              <a:lumOff val="80000"/>
            </a:schemeClr>
          </a:solidFill>
        </p:grpSpPr>
        <p:sp>
          <p:nvSpPr>
            <p:cNvPr id="15" name="Freeform: Shape 116">
              <a:extLst>
                <a:ext uri="{FF2B5EF4-FFF2-40B4-BE49-F238E27FC236}">
                  <a16:creationId xmlns:a16="http://schemas.microsoft.com/office/drawing/2014/main" id="{DD603928-DDB8-4EEA-AD16-509847D6518E}"/>
                </a:ext>
              </a:extLst>
            </p:cNvPr>
            <p:cNvSpPr/>
            <p:nvPr>
              <p:custDataLst>
                <p:tags r:id="rId34"/>
              </p:custDataLst>
            </p:nvPr>
          </p:nvSpPr>
          <p:spPr>
            <a:xfrm>
              <a:off x="3776711"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6" name="TextBox 117">
              <a:extLst>
                <a:ext uri="{FF2B5EF4-FFF2-40B4-BE49-F238E27FC236}">
                  <a16:creationId xmlns:a16="http://schemas.microsoft.com/office/drawing/2014/main" id="{81037181-B510-469D-B3CB-5C50B670A61D}"/>
                </a:ext>
              </a:extLst>
            </p:cNvPr>
            <p:cNvSpPr txBox="1"/>
            <p:nvPr>
              <p:custDataLst>
                <p:tags r:id="rId35"/>
              </p:custDataLst>
            </p:nvPr>
          </p:nvSpPr>
          <p:spPr>
            <a:xfrm>
              <a:off x="3875750"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Receive Request</a:t>
              </a:r>
            </a:p>
          </p:txBody>
        </p:sp>
      </p:grpSp>
      <p:grpSp>
        <p:nvGrpSpPr>
          <p:cNvPr id="17" name="Group 40">
            <a:extLst>
              <a:ext uri="{FF2B5EF4-FFF2-40B4-BE49-F238E27FC236}">
                <a16:creationId xmlns:a16="http://schemas.microsoft.com/office/drawing/2014/main" id="{A1664725-DFF1-4FE1-9500-3425ACECF963}"/>
              </a:ext>
            </a:extLst>
          </p:cNvPr>
          <p:cNvGrpSpPr/>
          <p:nvPr>
            <p:custDataLst>
              <p:tags r:id="rId3"/>
            </p:custDataLst>
          </p:nvPr>
        </p:nvGrpSpPr>
        <p:grpSpPr>
          <a:xfrm>
            <a:off x="3517367" y="511172"/>
            <a:ext cx="1316736" cy="466344"/>
            <a:chOff x="6476498" y="808460"/>
            <a:chExt cx="2697698" cy="267993"/>
          </a:xfrm>
          <a:solidFill>
            <a:schemeClr val="accent5">
              <a:lumMod val="20000"/>
              <a:lumOff val="80000"/>
            </a:schemeClr>
          </a:solidFill>
        </p:grpSpPr>
        <p:sp>
          <p:nvSpPr>
            <p:cNvPr id="18" name="Freeform: Shape 119">
              <a:extLst>
                <a:ext uri="{FF2B5EF4-FFF2-40B4-BE49-F238E27FC236}">
                  <a16:creationId xmlns:a16="http://schemas.microsoft.com/office/drawing/2014/main" id="{4CAD7AE4-534B-4D16-B9EB-259300351FA5}"/>
                </a:ext>
              </a:extLst>
            </p:cNvPr>
            <p:cNvSpPr/>
            <p:nvPr>
              <p:custDataLst>
                <p:tags r:id="rId32"/>
              </p:custDataLst>
            </p:nvPr>
          </p:nvSpPr>
          <p:spPr>
            <a:xfrm>
              <a:off x="6476498"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9" name="TextBox 121">
              <a:extLst>
                <a:ext uri="{FF2B5EF4-FFF2-40B4-BE49-F238E27FC236}">
                  <a16:creationId xmlns:a16="http://schemas.microsoft.com/office/drawing/2014/main" id="{A7859E00-6DA0-4870-BAC6-664C52798747}"/>
                </a:ext>
              </a:extLst>
            </p:cNvPr>
            <p:cNvSpPr txBox="1"/>
            <p:nvPr>
              <p:custDataLst>
                <p:tags r:id="rId33"/>
              </p:custDataLst>
            </p:nvPr>
          </p:nvSpPr>
          <p:spPr>
            <a:xfrm>
              <a:off x="6575537"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Resolve Request</a:t>
              </a:r>
            </a:p>
          </p:txBody>
        </p:sp>
      </p:grpSp>
      <p:grpSp>
        <p:nvGrpSpPr>
          <p:cNvPr id="20" name="Group 39">
            <a:extLst>
              <a:ext uri="{FF2B5EF4-FFF2-40B4-BE49-F238E27FC236}">
                <a16:creationId xmlns:a16="http://schemas.microsoft.com/office/drawing/2014/main" id="{930CF7CD-95EA-4DFA-A9C1-7E78B3D1BED0}"/>
              </a:ext>
            </a:extLst>
          </p:cNvPr>
          <p:cNvGrpSpPr/>
          <p:nvPr>
            <p:custDataLst>
              <p:tags r:id="rId4"/>
            </p:custDataLst>
          </p:nvPr>
        </p:nvGrpSpPr>
        <p:grpSpPr>
          <a:xfrm>
            <a:off x="4849039" y="511173"/>
            <a:ext cx="1316736" cy="466344"/>
            <a:chOff x="9176284" y="808460"/>
            <a:chExt cx="2697698" cy="267993"/>
          </a:xfrm>
          <a:solidFill>
            <a:schemeClr val="accent5">
              <a:lumMod val="20000"/>
              <a:lumOff val="80000"/>
            </a:schemeClr>
          </a:solidFill>
        </p:grpSpPr>
        <p:sp>
          <p:nvSpPr>
            <p:cNvPr id="21" name="Freeform: Shape 123">
              <a:extLst>
                <a:ext uri="{FF2B5EF4-FFF2-40B4-BE49-F238E27FC236}">
                  <a16:creationId xmlns:a16="http://schemas.microsoft.com/office/drawing/2014/main" id="{B229536C-F74D-4EDD-8D23-39A4040AA3CF}"/>
                </a:ext>
              </a:extLst>
            </p:cNvPr>
            <p:cNvSpPr/>
            <p:nvPr>
              <p:custDataLst>
                <p:tags r:id="rId30"/>
              </p:custDataLst>
            </p:nvPr>
          </p:nvSpPr>
          <p:spPr>
            <a:xfrm>
              <a:off x="917628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22" name="TextBox 126">
              <a:extLst>
                <a:ext uri="{FF2B5EF4-FFF2-40B4-BE49-F238E27FC236}">
                  <a16:creationId xmlns:a16="http://schemas.microsoft.com/office/drawing/2014/main" id="{7C5C8D58-56B4-4F64-AD3C-0B89A11448F9}"/>
                </a:ext>
              </a:extLst>
            </p:cNvPr>
            <p:cNvSpPr txBox="1"/>
            <p:nvPr>
              <p:custDataLst>
                <p:tags r:id="rId31"/>
              </p:custDataLst>
            </p:nvPr>
          </p:nvSpPr>
          <p:spPr>
            <a:xfrm>
              <a:off x="9275323"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lose Request</a:t>
              </a:r>
            </a:p>
          </p:txBody>
        </p:sp>
      </p:grpSp>
      <p:sp>
        <p:nvSpPr>
          <p:cNvPr id="34" name="TextBox 13">
            <a:extLst>
              <a:ext uri="{FF2B5EF4-FFF2-40B4-BE49-F238E27FC236}">
                <a16:creationId xmlns:a16="http://schemas.microsoft.com/office/drawing/2014/main" id="{DDACEBEF-1077-489F-8E9E-A02302C0CDCF}"/>
              </a:ext>
            </a:extLst>
          </p:cNvPr>
          <p:cNvSpPr txBox="1">
            <a:spLocks/>
          </p:cNvSpPr>
          <p:nvPr>
            <p:custDataLst>
              <p:tags r:id="rId5"/>
            </p:custDataLst>
          </p:nvPr>
        </p:nvSpPr>
        <p:spPr>
          <a:xfrm>
            <a:off x="2916026" y="1162087"/>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sp>
        <p:nvSpPr>
          <p:cNvPr id="35" name="TextBox 18">
            <a:extLst>
              <a:ext uri="{FF2B5EF4-FFF2-40B4-BE49-F238E27FC236}">
                <a16:creationId xmlns:a16="http://schemas.microsoft.com/office/drawing/2014/main" id="{9C1E0856-8BE2-4B08-B8FF-0DCEE1E3FA5A}"/>
              </a:ext>
            </a:extLst>
          </p:cNvPr>
          <p:cNvSpPr txBox="1"/>
          <p:nvPr>
            <p:custDataLst>
              <p:tags r:id="rId6"/>
            </p:custDataLst>
          </p:nvPr>
        </p:nvSpPr>
        <p:spPr>
          <a:xfrm>
            <a:off x="1000020" y="1052022"/>
            <a:ext cx="1493513" cy="76944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s-AR" sz="800" dirty="0"/>
              <a:t>C</a:t>
            </a:r>
            <a:r>
              <a:rPr lang="en-US" sz="800" dirty="0"/>
              <a:t>FS Analyst/LATAM</a:t>
            </a:r>
          </a:p>
          <a:p>
            <a:pPr marL="128588" indent="-128588">
              <a:spcBef>
                <a:spcPts val="300"/>
              </a:spcBef>
              <a:buFont typeface="Arial" panose="020B0604020202020204" pitchFamily="34" charset="0"/>
              <a:buChar char="•"/>
            </a:pPr>
            <a:r>
              <a:rPr lang="en-US" sz="800" dirty="0"/>
              <a:t>CSM/LATAM</a:t>
            </a:r>
          </a:p>
          <a:p>
            <a:pPr marL="128588" indent="-128588">
              <a:spcBef>
                <a:spcPts val="300"/>
              </a:spcBef>
              <a:buFont typeface="Arial" panose="020B0604020202020204" pitchFamily="34" charset="0"/>
              <a:buChar char="•"/>
            </a:pPr>
            <a:r>
              <a:rPr lang="en-US" sz="800" dirty="0"/>
              <a:t>SM/LATAM</a:t>
            </a:r>
          </a:p>
          <a:p>
            <a:pPr marL="128588" indent="-128588">
              <a:spcBef>
                <a:spcPts val="300"/>
              </a:spcBef>
              <a:buFont typeface="Arial" panose="020B0604020202020204" pitchFamily="34" charset="0"/>
              <a:buChar char="•"/>
            </a:pPr>
            <a:r>
              <a:rPr lang="en-US" sz="800" dirty="0"/>
              <a:t>OM/LATAM</a:t>
            </a:r>
          </a:p>
          <a:p>
            <a:pPr marL="128588" indent="-128588">
              <a:spcBef>
                <a:spcPts val="300"/>
              </a:spcBef>
              <a:buFont typeface="Arial" panose="020B0604020202020204" pitchFamily="34" charset="0"/>
              <a:buChar char="•"/>
            </a:pPr>
            <a:endParaRPr lang="en-US" sz="800" dirty="0"/>
          </a:p>
        </p:txBody>
      </p:sp>
      <p:sp>
        <p:nvSpPr>
          <p:cNvPr id="127" name="TextBox 109">
            <a:extLst>
              <a:ext uri="{FF2B5EF4-FFF2-40B4-BE49-F238E27FC236}">
                <a16:creationId xmlns:a16="http://schemas.microsoft.com/office/drawing/2014/main" id="{E74BAF50-621C-4E43-8998-16CE22E12A01}"/>
              </a:ext>
            </a:extLst>
          </p:cNvPr>
          <p:cNvSpPr txBox="1"/>
          <p:nvPr/>
        </p:nvSpPr>
        <p:spPr>
          <a:xfrm>
            <a:off x="98630" y="2193450"/>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Activities</a:t>
            </a:r>
            <a:endParaRPr lang="en-US" sz="1000" b="1" dirty="0">
              <a:solidFill>
                <a:schemeClr val="accent5"/>
              </a:solidFill>
            </a:endParaRPr>
          </a:p>
        </p:txBody>
      </p:sp>
      <p:cxnSp>
        <p:nvCxnSpPr>
          <p:cNvPr id="128" name="Straight Connector 102">
            <a:extLst>
              <a:ext uri="{FF2B5EF4-FFF2-40B4-BE49-F238E27FC236}">
                <a16:creationId xmlns:a16="http://schemas.microsoft.com/office/drawing/2014/main" id="{C7E8E748-724A-40C4-9C13-42E7B5CF732A}"/>
              </a:ext>
            </a:extLst>
          </p:cNvPr>
          <p:cNvCxnSpPr>
            <a:cxnSpLocks/>
          </p:cNvCxnSpPr>
          <p:nvPr/>
        </p:nvCxnSpPr>
        <p:spPr>
          <a:xfrm>
            <a:off x="98629" y="2799177"/>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9" name="TextBox 109">
            <a:extLst>
              <a:ext uri="{FF2B5EF4-FFF2-40B4-BE49-F238E27FC236}">
                <a16:creationId xmlns:a16="http://schemas.microsoft.com/office/drawing/2014/main" id="{1B12C7AD-EB0B-4D95-AE52-DED4493BFAE1}"/>
              </a:ext>
            </a:extLst>
          </p:cNvPr>
          <p:cNvSpPr txBox="1"/>
          <p:nvPr/>
        </p:nvSpPr>
        <p:spPr>
          <a:xfrm>
            <a:off x="151385" y="3199122"/>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Timing</a:t>
            </a:r>
            <a:endParaRPr lang="en-US" sz="1000" b="1" dirty="0">
              <a:solidFill>
                <a:schemeClr val="accent5"/>
              </a:solidFill>
            </a:endParaRPr>
          </a:p>
        </p:txBody>
      </p:sp>
      <p:cxnSp>
        <p:nvCxnSpPr>
          <p:cNvPr id="130" name="Straight Connector 102">
            <a:extLst>
              <a:ext uri="{FF2B5EF4-FFF2-40B4-BE49-F238E27FC236}">
                <a16:creationId xmlns:a16="http://schemas.microsoft.com/office/drawing/2014/main" id="{2708C5CA-2BB0-473D-AD61-02443C3AE84A}"/>
              </a:ext>
            </a:extLst>
          </p:cNvPr>
          <p:cNvCxnSpPr>
            <a:cxnSpLocks/>
          </p:cNvCxnSpPr>
          <p:nvPr/>
        </p:nvCxnSpPr>
        <p:spPr>
          <a:xfrm>
            <a:off x="98629" y="3670493"/>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1" name="TextBox 109">
            <a:extLst>
              <a:ext uri="{FF2B5EF4-FFF2-40B4-BE49-F238E27FC236}">
                <a16:creationId xmlns:a16="http://schemas.microsoft.com/office/drawing/2014/main" id="{3ED66421-925C-4A72-B180-586B65BBB974}"/>
              </a:ext>
            </a:extLst>
          </p:cNvPr>
          <p:cNvSpPr txBox="1"/>
          <p:nvPr/>
        </p:nvSpPr>
        <p:spPr>
          <a:xfrm>
            <a:off x="160177" y="4022664"/>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Tools</a:t>
            </a:r>
            <a:endParaRPr lang="en-US" sz="1000" b="1" dirty="0">
              <a:solidFill>
                <a:schemeClr val="accent5"/>
              </a:solidFill>
            </a:endParaRPr>
          </a:p>
        </p:txBody>
      </p:sp>
      <p:sp>
        <p:nvSpPr>
          <p:cNvPr id="132" name="TextBox 18">
            <a:extLst>
              <a:ext uri="{FF2B5EF4-FFF2-40B4-BE49-F238E27FC236}">
                <a16:creationId xmlns:a16="http://schemas.microsoft.com/office/drawing/2014/main" id="{3A1C1A72-16BF-4529-983D-BDE109850C93}"/>
              </a:ext>
            </a:extLst>
          </p:cNvPr>
          <p:cNvSpPr txBox="1"/>
          <p:nvPr>
            <p:custDataLst>
              <p:tags r:id="rId7"/>
            </p:custDataLst>
          </p:nvPr>
        </p:nvSpPr>
        <p:spPr>
          <a:xfrm>
            <a:off x="961770" y="1862755"/>
            <a:ext cx="1493513" cy="76944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spcBef>
                <a:spcPts val="300"/>
              </a:spcBef>
            </a:pPr>
            <a:r>
              <a:rPr lang="es-AR" sz="800" b="1" dirty="0" err="1"/>
              <a:t>Requests</a:t>
            </a:r>
            <a:r>
              <a:rPr lang="es-AR" sz="800" b="1" dirty="0"/>
              <a:t> </a:t>
            </a:r>
            <a:r>
              <a:rPr lang="es-AR" sz="800" b="1" dirty="0" err="1"/>
              <a:t>Types</a:t>
            </a:r>
            <a:endParaRPr lang="es-AR" sz="800" b="1" dirty="0"/>
          </a:p>
          <a:p>
            <a:pPr marL="128588" indent="-128588">
              <a:spcBef>
                <a:spcPts val="300"/>
              </a:spcBef>
              <a:buFont typeface="Arial" panose="020B0604020202020204" pitchFamily="34" charset="0"/>
              <a:buChar char="•"/>
            </a:pPr>
            <a:r>
              <a:rPr lang="en-US" sz="800" dirty="0"/>
              <a:t>Incidents:</a:t>
            </a:r>
          </a:p>
          <a:p>
            <a:pPr marL="128588" indent="-128588">
              <a:spcBef>
                <a:spcPts val="300"/>
              </a:spcBef>
              <a:buFont typeface="Arial" panose="020B0604020202020204" pitchFamily="34" charset="0"/>
              <a:buChar char="•"/>
            </a:pPr>
            <a:r>
              <a:rPr lang="en-US" sz="800" dirty="0"/>
              <a:t>Access Requests</a:t>
            </a:r>
          </a:p>
          <a:p>
            <a:pPr marL="128588" indent="-128588">
              <a:spcBef>
                <a:spcPts val="300"/>
              </a:spcBef>
              <a:buFont typeface="Arial" panose="020B0604020202020204" pitchFamily="34" charset="0"/>
              <a:buChar char="•"/>
            </a:pPr>
            <a:r>
              <a:rPr lang="en-US" sz="800" dirty="0"/>
              <a:t>Change Requests</a:t>
            </a:r>
          </a:p>
          <a:p>
            <a:pPr marL="128588" indent="-128588">
              <a:spcBef>
                <a:spcPts val="300"/>
              </a:spcBef>
              <a:buFont typeface="Arial" panose="020B0604020202020204" pitchFamily="34" charset="0"/>
              <a:buChar char="•"/>
            </a:pPr>
            <a:r>
              <a:rPr lang="en-US" sz="800" dirty="0"/>
              <a:t>Test Environment Requests</a:t>
            </a:r>
          </a:p>
        </p:txBody>
      </p:sp>
      <p:sp>
        <p:nvSpPr>
          <p:cNvPr id="133" name="TextBox 18">
            <a:extLst>
              <a:ext uri="{FF2B5EF4-FFF2-40B4-BE49-F238E27FC236}">
                <a16:creationId xmlns:a16="http://schemas.microsoft.com/office/drawing/2014/main" id="{819575EB-5389-432F-A520-D5BC414668BD}"/>
              </a:ext>
            </a:extLst>
          </p:cNvPr>
          <p:cNvSpPr txBox="1"/>
          <p:nvPr>
            <p:custDataLst>
              <p:tags r:id="rId8"/>
            </p:custDataLst>
          </p:nvPr>
        </p:nvSpPr>
        <p:spPr>
          <a:xfrm>
            <a:off x="2916025" y="186082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136" name="TextBox 18">
            <a:extLst>
              <a:ext uri="{FF2B5EF4-FFF2-40B4-BE49-F238E27FC236}">
                <a16:creationId xmlns:a16="http://schemas.microsoft.com/office/drawing/2014/main" id="{D07379DF-3F27-40C0-8964-C4C6F379E61F}"/>
              </a:ext>
            </a:extLst>
          </p:cNvPr>
          <p:cNvSpPr txBox="1"/>
          <p:nvPr>
            <p:custDataLst>
              <p:tags r:id="rId9"/>
            </p:custDataLst>
          </p:nvPr>
        </p:nvSpPr>
        <p:spPr>
          <a:xfrm>
            <a:off x="2916025" y="2934842"/>
            <a:ext cx="1493513" cy="446276"/>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Immediately</a:t>
            </a:r>
          </a:p>
          <a:p>
            <a:pPr marL="128588" indent="-128588">
              <a:spcBef>
                <a:spcPts val="300"/>
              </a:spcBef>
              <a:buFont typeface="Arial" panose="020B0604020202020204" pitchFamily="34" charset="0"/>
              <a:buChar char="•"/>
            </a:pPr>
            <a:r>
              <a:rPr lang="en-US" sz="800" dirty="0"/>
              <a:t>24 hours for initial response.</a:t>
            </a:r>
          </a:p>
          <a:p>
            <a:pPr marL="128588" indent="-128588">
              <a:spcBef>
                <a:spcPts val="300"/>
              </a:spcBef>
              <a:buFont typeface="Arial" panose="020B0604020202020204" pitchFamily="34" charset="0"/>
              <a:buChar char="•"/>
            </a:pPr>
            <a:endParaRPr lang="en-US" sz="800" dirty="0"/>
          </a:p>
        </p:txBody>
      </p:sp>
      <p:sp>
        <p:nvSpPr>
          <p:cNvPr id="137" name="TextBox 18">
            <a:extLst>
              <a:ext uri="{FF2B5EF4-FFF2-40B4-BE49-F238E27FC236}">
                <a16:creationId xmlns:a16="http://schemas.microsoft.com/office/drawing/2014/main" id="{E79325FA-EF90-45F6-98ED-B5952226A932}"/>
              </a:ext>
            </a:extLst>
          </p:cNvPr>
          <p:cNvSpPr txBox="1"/>
          <p:nvPr>
            <p:custDataLst>
              <p:tags r:id="rId10"/>
            </p:custDataLst>
          </p:nvPr>
        </p:nvSpPr>
        <p:spPr>
          <a:xfrm>
            <a:off x="1048635" y="313796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ot specified</a:t>
            </a:r>
          </a:p>
        </p:txBody>
      </p:sp>
      <p:sp>
        <p:nvSpPr>
          <p:cNvPr id="138" name="TextBox 18">
            <a:extLst>
              <a:ext uri="{FF2B5EF4-FFF2-40B4-BE49-F238E27FC236}">
                <a16:creationId xmlns:a16="http://schemas.microsoft.com/office/drawing/2014/main" id="{8093E3D7-AC8C-4695-A108-C0923E90FAA1}"/>
              </a:ext>
            </a:extLst>
          </p:cNvPr>
          <p:cNvSpPr txBox="1"/>
          <p:nvPr>
            <p:custDataLst>
              <p:tags r:id="rId11"/>
            </p:custDataLst>
          </p:nvPr>
        </p:nvSpPr>
        <p:spPr>
          <a:xfrm>
            <a:off x="4980109" y="2934842"/>
            <a:ext cx="1493513" cy="607859"/>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Incidents:</a:t>
            </a:r>
          </a:p>
          <a:p>
            <a:pPr marL="128588" indent="-128588">
              <a:spcBef>
                <a:spcPts val="300"/>
              </a:spcBef>
              <a:buFont typeface="Arial" panose="020B0604020202020204" pitchFamily="34" charset="0"/>
              <a:buChar char="•"/>
            </a:pPr>
            <a:r>
              <a:rPr lang="en-US" sz="800" dirty="0"/>
              <a:t>Access Requests</a:t>
            </a:r>
          </a:p>
          <a:p>
            <a:pPr marL="128588" indent="-128588">
              <a:spcBef>
                <a:spcPts val="300"/>
              </a:spcBef>
              <a:buFont typeface="Arial" panose="020B0604020202020204" pitchFamily="34" charset="0"/>
              <a:buChar char="•"/>
            </a:pPr>
            <a:r>
              <a:rPr lang="en-US" sz="800" dirty="0"/>
              <a:t>Change Requests</a:t>
            </a:r>
          </a:p>
          <a:p>
            <a:pPr marL="128588" indent="-128588">
              <a:spcBef>
                <a:spcPts val="300"/>
              </a:spcBef>
              <a:buFont typeface="Arial" panose="020B0604020202020204" pitchFamily="34" charset="0"/>
              <a:buChar char="•"/>
            </a:pPr>
            <a:r>
              <a:rPr lang="en-US" sz="800" dirty="0"/>
              <a:t>Test Environment Requests</a:t>
            </a:r>
          </a:p>
        </p:txBody>
      </p:sp>
      <p:cxnSp>
        <p:nvCxnSpPr>
          <p:cNvPr id="141" name="Straight Connector 102">
            <a:extLst>
              <a:ext uri="{FF2B5EF4-FFF2-40B4-BE49-F238E27FC236}">
                <a16:creationId xmlns:a16="http://schemas.microsoft.com/office/drawing/2014/main" id="{4A455BB8-E835-44B5-8271-A5BFC104693D}"/>
              </a:ext>
            </a:extLst>
          </p:cNvPr>
          <p:cNvCxnSpPr>
            <a:cxnSpLocks/>
          </p:cNvCxnSpPr>
          <p:nvPr/>
        </p:nvCxnSpPr>
        <p:spPr>
          <a:xfrm>
            <a:off x="98629" y="4380357"/>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2" name="TextBox 109">
            <a:extLst>
              <a:ext uri="{FF2B5EF4-FFF2-40B4-BE49-F238E27FC236}">
                <a16:creationId xmlns:a16="http://schemas.microsoft.com/office/drawing/2014/main" id="{3D75881E-02D9-4EB7-9D70-F086182E1A13}"/>
              </a:ext>
            </a:extLst>
          </p:cNvPr>
          <p:cNvSpPr txBox="1"/>
          <p:nvPr/>
        </p:nvSpPr>
        <p:spPr>
          <a:xfrm>
            <a:off x="-54216" y="4527952"/>
            <a:ext cx="1054235" cy="307777"/>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Other Considerations</a:t>
            </a:r>
            <a:endParaRPr lang="en-US" sz="1000" b="1" dirty="0">
              <a:solidFill>
                <a:schemeClr val="accent5"/>
              </a:solidFill>
            </a:endParaRPr>
          </a:p>
        </p:txBody>
      </p:sp>
      <p:sp>
        <p:nvSpPr>
          <p:cNvPr id="144" name="TextBox 18">
            <a:extLst>
              <a:ext uri="{FF2B5EF4-FFF2-40B4-BE49-F238E27FC236}">
                <a16:creationId xmlns:a16="http://schemas.microsoft.com/office/drawing/2014/main" id="{A04A4D17-01DC-49A1-B863-411E3C746B97}"/>
              </a:ext>
            </a:extLst>
          </p:cNvPr>
          <p:cNvSpPr txBox="1"/>
          <p:nvPr>
            <p:custDataLst>
              <p:tags r:id="rId12"/>
            </p:custDataLst>
          </p:nvPr>
        </p:nvSpPr>
        <p:spPr>
          <a:xfrm>
            <a:off x="898486" y="3795712"/>
            <a:ext cx="1781511" cy="492443"/>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12713" indent="-112713" defTabSz="665550">
              <a:buClr>
                <a:srgbClr val="0067B1"/>
              </a:buClr>
              <a:buFont typeface="Arial" panose="020B0604020202020204" pitchFamily="34" charset="0"/>
              <a:buChar char="•"/>
            </a:pPr>
            <a:r>
              <a:rPr lang="en-US" sz="800" dirty="0">
                <a:solidFill>
                  <a:srgbClr val="000000"/>
                </a:solidFill>
              </a:rPr>
              <a:t>Incident/Question/Access/Change Requests: </a:t>
            </a:r>
            <a:r>
              <a:rPr lang="en-US" sz="800" dirty="0">
                <a:solidFill>
                  <a:srgbClr val="000000"/>
                </a:solidFill>
                <a:hlinkClick r:id="rId40"/>
              </a:rPr>
              <a:t>fusionsupport@lumen.com</a:t>
            </a:r>
            <a:endParaRPr lang="en-US" sz="800" dirty="0">
              <a:solidFill>
                <a:srgbClr val="000000"/>
              </a:solidFill>
            </a:endParaRPr>
          </a:p>
          <a:p>
            <a:pPr marL="57150" indent="-57150" defTabSz="665550">
              <a:buClr>
                <a:srgbClr val="0067B1"/>
              </a:buClr>
              <a:buFont typeface="Arial" panose="020B0604020202020204" pitchFamily="34" charset="0"/>
              <a:buChar char="•"/>
            </a:pPr>
            <a:r>
              <a:rPr lang="en-US" sz="800" dirty="0">
                <a:solidFill>
                  <a:srgbClr val="000000"/>
                </a:solidFill>
              </a:rPr>
              <a:t>Test Env Request: </a:t>
            </a:r>
            <a:r>
              <a:rPr lang="en-US" sz="800" dirty="0">
                <a:solidFill>
                  <a:srgbClr val="000000"/>
                </a:solidFill>
                <a:hlinkClick r:id="rId41"/>
              </a:rPr>
              <a:t>SharePoint</a:t>
            </a:r>
            <a:endParaRPr lang="en-US" sz="800" dirty="0">
              <a:solidFill>
                <a:srgbClr val="000000"/>
              </a:solidFill>
            </a:endParaRPr>
          </a:p>
        </p:txBody>
      </p:sp>
      <p:sp>
        <p:nvSpPr>
          <p:cNvPr id="148" name="TextBox 18">
            <a:extLst>
              <a:ext uri="{FF2B5EF4-FFF2-40B4-BE49-F238E27FC236}">
                <a16:creationId xmlns:a16="http://schemas.microsoft.com/office/drawing/2014/main" id="{E06A1FD3-C2D2-45FC-914C-1A8454C99169}"/>
              </a:ext>
            </a:extLst>
          </p:cNvPr>
          <p:cNvSpPr txBox="1"/>
          <p:nvPr>
            <p:custDataLst>
              <p:tags r:id="rId13"/>
            </p:custDataLst>
          </p:nvPr>
        </p:nvSpPr>
        <p:spPr>
          <a:xfrm>
            <a:off x="1000020" y="4426760"/>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grpSp>
        <p:nvGrpSpPr>
          <p:cNvPr id="3" name="Grupo 2">
            <a:extLst>
              <a:ext uri="{FF2B5EF4-FFF2-40B4-BE49-F238E27FC236}">
                <a16:creationId xmlns:a16="http://schemas.microsoft.com/office/drawing/2014/main" id="{37E3A0C4-1E1D-4AA4-A08B-4BFC23DB7E92}"/>
              </a:ext>
            </a:extLst>
          </p:cNvPr>
          <p:cNvGrpSpPr/>
          <p:nvPr/>
        </p:nvGrpSpPr>
        <p:grpSpPr>
          <a:xfrm>
            <a:off x="5491403" y="4962127"/>
            <a:ext cx="1964437" cy="136443"/>
            <a:chOff x="5455991" y="4953423"/>
            <a:chExt cx="1964437" cy="136443"/>
          </a:xfrm>
        </p:grpSpPr>
        <p:sp>
          <p:nvSpPr>
            <p:cNvPr id="47" name="Oval 51">
              <a:extLst>
                <a:ext uri="{FF2B5EF4-FFF2-40B4-BE49-F238E27FC236}">
                  <a16:creationId xmlns:a16="http://schemas.microsoft.com/office/drawing/2014/main" id="{9F9098E7-5EA8-407D-8B05-6B10D8EE0DB6}"/>
                </a:ext>
              </a:extLst>
            </p:cNvPr>
            <p:cNvSpPr/>
            <p:nvPr/>
          </p:nvSpPr>
          <p:spPr>
            <a:xfrm>
              <a:off x="5455991" y="4953423"/>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48" name="Text Placeholder 2">
              <a:extLst>
                <a:ext uri="{FF2B5EF4-FFF2-40B4-BE49-F238E27FC236}">
                  <a16:creationId xmlns:a16="http://schemas.microsoft.com/office/drawing/2014/main" id="{1D337682-4CBB-4221-BA40-A90EC544DB1B}"/>
                </a:ext>
              </a:extLst>
            </p:cNvPr>
            <p:cNvSpPr txBox="1">
              <a:spLocks/>
            </p:cNvSpPr>
            <p:nvPr/>
          </p:nvSpPr>
          <p:spPr>
            <a:xfrm>
              <a:off x="5518346" y="4967594"/>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49" name="Oval 54">
              <a:extLst>
                <a:ext uri="{FF2B5EF4-FFF2-40B4-BE49-F238E27FC236}">
                  <a16:creationId xmlns:a16="http://schemas.microsoft.com/office/drawing/2014/main" id="{500739BF-5AEF-457C-A127-69A9790F8BB0}"/>
                </a:ext>
              </a:extLst>
            </p:cNvPr>
            <p:cNvSpPr/>
            <p:nvPr/>
          </p:nvSpPr>
          <p:spPr>
            <a:xfrm>
              <a:off x="6432766" y="495342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0" name="Text Placeholder 2">
              <a:extLst>
                <a:ext uri="{FF2B5EF4-FFF2-40B4-BE49-F238E27FC236}">
                  <a16:creationId xmlns:a16="http://schemas.microsoft.com/office/drawing/2014/main" id="{86F66A3A-109E-4071-8165-531399BFB0F8}"/>
                </a:ext>
              </a:extLst>
            </p:cNvPr>
            <p:cNvSpPr txBox="1">
              <a:spLocks/>
            </p:cNvSpPr>
            <p:nvPr/>
          </p:nvSpPr>
          <p:spPr>
            <a:xfrm>
              <a:off x="6512789" y="4989763"/>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grpSp>
      <p:sp>
        <p:nvSpPr>
          <p:cNvPr id="51" name="TextBox 13">
            <a:extLst>
              <a:ext uri="{FF2B5EF4-FFF2-40B4-BE49-F238E27FC236}">
                <a16:creationId xmlns:a16="http://schemas.microsoft.com/office/drawing/2014/main" id="{2EC86C43-5C80-40B3-BCDF-CC26B8D9BEEC}"/>
              </a:ext>
            </a:extLst>
          </p:cNvPr>
          <p:cNvSpPr txBox="1">
            <a:spLocks/>
          </p:cNvSpPr>
          <p:nvPr>
            <p:custDataLst>
              <p:tags r:id="rId14"/>
            </p:custDataLst>
          </p:nvPr>
        </p:nvSpPr>
        <p:spPr>
          <a:xfrm>
            <a:off x="4978858" y="1214856"/>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sp>
        <p:nvSpPr>
          <p:cNvPr id="52" name="TextBox 18">
            <a:extLst>
              <a:ext uri="{FF2B5EF4-FFF2-40B4-BE49-F238E27FC236}">
                <a16:creationId xmlns:a16="http://schemas.microsoft.com/office/drawing/2014/main" id="{57FA4176-7A76-4A19-B6AC-D82BC797C0D5}"/>
              </a:ext>
            </a:extLst>
          </p:cNvPr>
          <p:cNvSpPr txBox="1"/>
          <p:nvPr>
            <p:custDataLst>
              <p:tags r:id="rId15"/>
            </p:custDataLst>
          </p:nvPr>
        </p:nvSpPr>
        <p:spPr>
          <a:xfrm>
            <a:off x="5077371" y="1877341"/>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3" name="TextBox 18">
            <a:extLst>
              <a:ext uri="{FF2B5EF4-FFF2-40B4-BE49-F238E27FC236}">
                <a16:creationId xmlns:a16="http://schemas.microsoft.com/office/drawing/2014/main" id="{3E7866A8-3F65-48E9-9F1A-BF0E613A781E}"/>
              </a:ext>
            </a:extLst>
          </p:cNvPr>
          <p:cNvSpPr txBox="1"/>
          <p:nvPr>
            <p:custDataLst>
              <p:tags r:id="rId16"/>
            </p:custDataLst>
          </p:nvPr>
        </p:nvSpPr>
        <p:spPr>
          <a:xfrm>
            <a:off x="6966608" y="186082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4" name="TextBox 18">
            <a:extLst>
              <a:ext uri="{FF2B5EF4-FFF2-40B4-BE49-F238E27FC236}">
                <a16:creationId xmlns:a16="http://schemas.microsoft.com/office/drawing/2014/main" id="{EE3ED2DD-29BA-4BB0-B65C-7CE97B7AA98F}"/>
              </a:ext>
            </a:extLst>
          </p:cNvPr>
          <p:cNvSpPr txBox="1"/>
          <p:nvPr>
            <p:custDataLst>
              <p:tags r:id="rId17"/>
            </p:custDataLst>
          </p:nvPr>
        </p:nvSpPr>
        <p:spPr>
          <a:xfrm>
            <a:off x="2916025" y="3926421"/>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5" name="TextBox 18">
            <a:extLst>
              <a:ext uri="{FF2B5EF4-FFF2-40B4-BE49-F238E27FC236}">
                <a16:creationId xmlns:a16="http://schemas.microsoft.com/office/drawing/2014/main" id="{22942DCE-1251-4692-ADF1-7BAB01CA93DC}"/>
              </a:ext>
            </a:extLst>
          </p:cNvPr>
          <p:cNvSpPr txBox="1"/>
          <p:nvPr>
            <p:custDataLst>
              <p:tags r:id="rId18"/>
            </p:custDataLst>
          </p:nvPr>
        </p:nvSpPr>
        <p:spPr>
          <a:xfrm>
            <a:off x="5032894" y="3965683"/>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6" name="TextBox 18">
            <a:extLst>
              <a:ext uri="{FF2B5EF4-FFF2-40B4-BE49-F238E27FC236}">
                <a16:creationId xmlns:a16="http://schemas.microsoft.com/office/drawing/2014/main" id="{A87CCD7B-C6A2-48B6-8A4E-823BC08C6908}"/>
              </a:ext>
            </a:extLst>
          </p:cNvPr>
          <p:cNvSpPr txBox="1"/>
          <p:nvPr>
            <p:custDataLst>
              <p:tags r:id="rId19"/>
            </p:custDataLst>
          </p:nvPr>
        </p:nvSpPr>
        <p:spPr>
          <a:xfrm>
            <a:off x="7046711" y="395389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8" name="TextBox 18">
            <a:extLst>
              <a:ext uri="{FF2B5EF4-FFF2-40B4-BE49-F238E27FC236}">
                <a16:creationId xmlns:a16="http://schemas.microsoft.com/office/drawing/2014/main" id="{57C586E9-2343-4CF7-A03E-6E0AD82F47DE}"/>
              </a:ext>
            </a:extLst>
          </p:cNvPr>
          <p:cNvSpPr txBox="1"/>
          <p:nvPr>
            <p:custDataLst>
              <p:tags r:id="rId20"/>
            </p:custDataLst>
          </p:nvPr>
        </p:nvSpPr>
        <p:spPr>
          <a:xfrm>
            <a:off x="2927128" y="4436629"/>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59" name="TextBox 18">
            <a:extLst>
              <a:ext uri="{FF2B5EF4-FFF2-40B4-BE49-F238E27FC236}">
                <a16:creationId xmlns:a16="http://schemas.microsoft.com/office/drawing/2014/main" id="{9A7D7F2D-5B4C-46DC-8C15-2E477782F6BD}"/>
              </a:ext>
            </a:extLst>
          </p:cNvPr>
          <p:cNvSpPr txBox="1"/>
          <p:nvPr>
            <p:custDataLst>
              <p:tags r:id="rId21"/>
            </p:custDataLst>
          </p:nvPr>
        </p:nvSpPr>
        <p:spPr>
          <a:xfrm>
            <a:off x="5032893" y="4419619"/>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60" name="TextBox 18">
            <a:extLst>
              <a:ext uri="{FF2B5EF4-FFF2-40B4-BE49-F238E27FC236}">
                <a16:creationId xmlns:a16="http://schemas.microsoft.com/office/drawing/2014/main" id="{2905019A-E0B3-4C6D-825B-C7643909B160}"/>
              </a:ext>
            </a:extLst>
          </p:cNvPr>
          <p:cNvSpPr txBox="1"/>
          <p:nvPr>
            <p:custDataLst>
              <p:tags r:id="rId22"/>
            </p:custDataLst>
          </p:nvPr>
        </p:nvSpPr>
        <p:spPr>
          <a:xfrm>
            <a:off x="7086884" y="448204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64" name="TextBox 13">
            <a:extLst>
              <a:ext uri="{FF2B5EF4-FFF2-40B4-BE49-F238E27FC236}">
                <a16:creationId xmlns:a16="http://schemas.microsoft.com/office/drawing/2014/main" id="{53CF9B2C-0E94-4B71-9700-2BC9CCF40A7A}"/>
              </a:ext>
            </a:extLst>
          </p:cNvPr>
          <p:cNvSpPr txBox="1">
            <a:spLocks/>
          </p:cNvSpPr>
          <p:nvPr>
            <p:custDataLst>
              <p:tags r:id="rId23"/>
            </p:custDataLst>
          </p:nvPr>
        </p:nvSpPr>
        <p:spPr>
          <a:xfrm>
            <a:off x="6916336" y="1229675"/>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grpSp>
        <p:nvGrpSpPr>
          <p:cNvPr id="57" name="Group 39">
            <a:extLst>
              <a:ext uri="{FF2B5EF4-FFF2-40B4-BE49-F238E27FC236}">
                <a16:creationId xmlns:a16="http://schemas.microsoft.com/office/drawing/2014/main" id="{4BAB0A20-6951-4A25-B64D-2AFF633CFDFA}"/>
              </a:ext>
            </a:extLst>
          </p:cNvPr>
          <p:cNvGrpSpPr/>
          <p:nvPr>
            <p:custDataLst>
              <p:tags r:id="rId24"/>
            </p:custDataLst>
          </p:nvPr>
        </p:nvGrpSpPr>
        <p:grpSpPr>
          <a:xfrm>
            <a:off x="6173878" y="506295"/>
            <a:ext cx="1316736" cy="466344"/>
            <a:chOff x="9176284" y="808460"/>
            <a:chExt cx="2697698" cy="267993"/>
          </a:xfrm>
          <a:solidFill>
            <a:schemeClr val="accent5">
              <a:lumMod val="20000"/>
              <a:lumOff val="80000"/>
            </a:schemeClr>
          </a:solidFill>
        </p:grpSpPr>
        <p:sp>
          <p:nvSpPr>
            <p:cNvPr id="61" name="Freeform: Shape 123">
              <a:extLst>
                <a:ext uri="{FF2B5EF4-FFF2-40B4-BE49-F238E27FC236}">
                  <a16:creationId xmlns:a16="http://schemas.microsoft.com/office/drawing/2014/main" id="{12937D74-0A60-4C46-9AFC-580B57A4E335}"/>
                </a:ext>
              </a:extLst>
            </p:cNvPr>
            <p:cNvSpPr/>
            <p:nvPr>
              <p:custDataLst>
                <p:tags r:id="rId28"/>
              </p:custDataLst>
            </p:nvPr>
          </p:nvSpPr>
          <p:spPr>
            <a:xfrm>
              <a:off x="917628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62" name="TextBox 126">
              <a:extLst>
                <a:ext uri="{FF2B5EF4-FFF2-40B4-BE49-F238E27FC236}">
                  <a16:creationId xmlns:a16="http://schemas.microsoft.com/office/drawing/2014/main" id="{0728AAD1-423E-4F19-B2D4-F3F023E2DD49}"/>
                </a:ext>
              </a:extLst>
            </p:cNvPr>
            <p:cNvSpPr txBox="1"/>
            <p:nvPr>
              <p:custDataLst>
                <p:tags r:id="rId29"/>
              </p:custDataLst>
            </p:nvPr>
          </p:nvSpPr>
          <p:spPr>
            <a:xfrm>
              <a:off x="9275323"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lose Request</a:t>
              </a:r>
            </a:p>
          </p:txBody>
        </p:sp>
      </p:grpSp>
      <p:grpSp>
        <p:nvGrpSpPr>
          <p:cNvPr id="65" name="Group 39">
            <a:extLst>
              <a:ext uri="{FF2B5EF4-FFF2-40B4-BE49-F238E27FC236}">
                <a16:creationId xmlns:a16="http://schemas.microsoft.com/office/drawing/2014/main" id="{86E64A85-2E90-435B-AEA1-864D5511EA9C}"/>
              </a:ext>
            </a:extLst>
          </p:cNvPr>
          <p:cNvGrpSpPr/>
          <p:nvPr>
            <p:custDataLst>
              <p:tags r:id="rId25"/>
            </p:custDataLst>
          </p:nvPr>
        </p:nvGrpSpPr>
        <p:grpSpPr>
          <a:xfrm>
            <a:off x="7525346" y="523168"/>
            <a:ext cx="1316736" cy="466344"/>
            <a:chOff x="9176284" y="808460"/>
            <a:chExt cx="2697698" cy="267993"/>
          </a:xfrm>
          <a:solidFill>
            <a:schemeClr val="accent5">
              <a:lumMod val="20000"/>
              <a:lumOff val="80000"/>
            </a:schemeClr>
          </a:solidFill>
        </p:grpSpPr>
        <p:sp>
          <p:nvSpPr>
            <p:cNvPr id="66" name="Freeform: Shape 123">
              <a:extLst>
                <a:ext uri="{FF2B5EF4-FFF2-40B4-BE49-F238E27FC236}">
                  <a16:creationId xmlns:a16="http://schemas.microsoft.com/office/drawing/2014/main" id="{9F7A2262-389D-4B1B-A29C-5ECC3C375017}"/>
                </a:ext>
              </a:extLst>
            </p:cNvPr>
            <p:cNvSpPr/>
            <p:nvPr>
              <p:custDataLst>
                <p:tags r:id="rId26"/>
              </p:custDataLst>
            </p:nvPr>
          </p:nvSpPr>
          <p:spPr>
            <a:xfrm>
              <a:off x="917628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67" name="TextBox 126">
              <a:extLst>
                <a:ext uri="{FF2B5EF4-FFF2-40B4-BE49-F238E27FC236}">
                  <a16:creationId xmlns:a16="http://schemas.microsoft.com/office/drawing/2014/main" id="{FD2254B0-FDFC-444E-9AAD-282FE97A228E}"/>
                </a:ext>
              </a:extLst>
            </p:cNvPr>
            <p:cNvSpPr txBox="1"/>
            <p:nvPr>
              <p:custDataLst>
                <p:tags r:id="rId27"/>
              </p:custDataLst>
            </p:nvPr>
          </p:nvSpPr>
          <p:spPr>
            <a:xfrm>
              <a:off x="9275323"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lose Request</a:t>
              </a:r>
            </a:p>
          </p:txBody>
        </p:sp>
      </p:grpSp>
      <p:sp>
        <p:nvSpPr>
          <p:cNvPr id="68" name="Rectángulo 67">
            <a:extLst>
              <a:ext uri="{FF2B5EF4-FFF2-40B4-BE49-F238E27FC236}">
                <a16:creationId xmlns:a16="http://schemas.microsoft.com/office/drawing/2014/main" id="{C8A90C58-178A-4666-AAE0-EFCB43305A1B}"/>
              </a:ext>
            </a:extLst>
          </p:cNvPr>
          <p:cNvSpPr/>
          <p:nvPr/>
        </p:nvSpPr>
        <p:spPr>
          <a:xfrm>
            <a:off x="6264897" y="3818607"/>
            <a:ext cx="2324556" cy="8181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a:t>ARMAR</a:t>
            </a:r>
            <a:endParaRPr lang="en-US" dirty="0"/>
          </a:p>
        </p:txBody>
      </p:sp>
      <p:sp>
        <p:nvSpPr>
          <p:cNvPr id="69" name="Title 1">
            <a:extLst>
              <a:ext uri="{FF2B5EF4-FFF2-40B4-BE49-F238E27FC236}">
                <a16:creationId xmlns:a16="http://schemas.microsoft.com/office/drawing/2014/main" id="{18E44A8D-4EFE-4E99-8CFB-75C60DC7AA47}"/>
              </a:ext>
            </a:extLst>
          </p:cNvPr>
          <p:cNvSpPr txBox="1">
            <a:spLocks/>
          </p:cNvSpPr>
          <p:nvPr/>
        </p:nvSpPr>
        <p:spPr>
          <a:xfrm>
            <a:off x="457202" y="268929"/>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St. Croix Billing Request Management</a:t>
            </a:r>
          </a:p>
        </p:txBody>
      </p:sp>
    </p:spTree>
    <p:extLst>
      <p:ext uri="{BB962C8B-B14F-4D97-AF65-F5344CB8AC3E}">
        <p14:creationId xmlns:p14="http://schemas.microsoft.com/office/powerpoint/2010/main" val="3907444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Ana Carvajal/Héctor Cabrera/Rodrigo de Lima Capelare</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Kerry </a:t>
            </a:r>
            <a:r>
              <a:rPr lang="en-US" sz="900" dirty="0" err="1">
                <a:solidFill>
                  <a:srgbClr val="000000"/>
                </a:solidFill>
                <a:latin typeface="Arial" panose="020B0604020202020204"/>
                <a:cs typeface="+mn-cs"/>
              </a:rPr>
              <a:t>Youngblood,Joseph</a:t>
            </a:r>
            <a:r>
              <a:rPr lang="en-US" sz="900" dirty="0">
                <a:solidFill>
                  <a:srgbClr val="000000"/>
                </a:solidFill>
                <a:latin typeface="Arial" panose="020B0604020202020204"/>
                <a:cs typeface="+mn-cs"/>
              </a:rPr>
              <a:t> Lijo</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usio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BAC</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err="1">
                <a:solidFill>
                  <a:srgbClr val="000000"/>
                </a:solidFill>
                <a:latin typeface="Arial" panose="020B0604020202020204"/>
                <a:cs typeface="+mn-cs"/>
              </a:rPr>
              <a:t>Tie</a:t>
            </a:r>
            <a:r>
              <a:rPr lang="pt-BR" sz="900" dirty="0">
                <a:solidFill>
                  <a:srgbClr val="000000"/>
                </a:solidFill>
                <a:latin typeface="Arial" panose="020B0604020202020204"/>
                <a:cs typeface="+mn-cs"/>
              </a:rPr>
              <a:t> </a:t>
            </a:r>
            <a:r>
              <a:rPr lang="pt-BR" sz="900" dirty="0" err="1">
                <a:solidFill>
                  <a:srgbClr val="000000"/>
                </a:solidFill>
                <a:latin typeface="Arial" panose="020B0604020202020204"/>
                <a:cs typeface="+mn-cs"/>
              </a:rPr>
              <a:t>Code</a:t>
            </a:r>
            <a:r>
              <a:rPr lang="pt-BR" sz="900" dirty="0">
                <a:solidFill>
                  <a:srgbClr val="000000"/>
                </a:solidFill>
                <a:latin typeface="Arial" panose="020B0604020202020204"/>
                <a:cs typeface="+mn-cs"/>
              </a:rPr>
              <a:t> Too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900" dirty="0" err="1">
                <a:solidFill>
                  <a:srgbClr val="000000"/>
                </a:solidFill>
                <a:latin typeface="Arial" panose="020B0604020202020204"/>
                <a:cs typeface="+mn-cs"/>
              </a:rPr>
              <a:t>Reportosaurus</a:t>
            </a: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88800"/>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BAC/Fusion/TCT will be used by Latam Users in order to load Billing Requests, Manage Billing Requests, Obtain Billing Information, Obtain Collection Information, Assign Collectors and Billing Coordinators, with the same functionalities used by Latam before Feb. 2022. </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ll requests will  be made in </a:t>
            </a:r>
            <a:r>
              <a:rPr lang="en-US" sz="900" dirty="0" err="1">
                <a:solidFill>
                  <a:srgbClr val="000000"/>
                </a:solidFill>
                <a:latin typeface="Arial" panose="020B0604020202020204"/>
                <a:cs typeface="+mn-cs"/>
              </a:rPr>
              <a:t>english</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equest Reception: 24 hour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equest Resolution: </a:t>
            </a:r>
            <a:r>
              <a:rPr lang="en-US" sz="900" dirty="0">
                <a:solidFill>
                  <a:srgbClr val="000000"/>
                </a:solidFill>
                <a:highlight>
                  <a:srgbClr val="FFFF00"/>
                </a:highlight>
                <a:latin typeface="Arial" panose="020B0604020202020204"/>
                <a:cs typeface="+mn-cs"/>
              </a:rPr>
              <a:t>TBC by NA</a:t>
            </a:r>
          </a:p>
          <a:p>
            <a:pPr marL="284163" lvl="1" indent="-171450" defTabSz="665550">
              <a:lnSpc>
                <a:spcPct val="100000"/>
              </a:lnSpc>
              <a:spcBef>
                <a:spcPts val="0"/>
              </a:spcBef>
              <a:buClr>
                <a:srgbClr val="0067B1"/>
              </a:buClr>
              <a:buSzPct val="100000"/>
              <a:buFont typeface="Wingdings" panose="05000000000000000000" pitchFamily="2" charset="2"/>
              <a:buChar char="ü"/>
              <a:defRPr/>
            </a:pPr>
            <a:r>
              <a:rPr lang="en-US" sz="900" b="0" dirty="0">
                <a:solidFill>
                  <a:srgbClr val="000000"/>
                </a:solidFill>
                <a:latin typeface="Arial" panose="020B0604020202020204"/>
                <a:cs typeface="+mn-cs"/>
              </a:rPr>
              <a:t>Incident/Question/Access</a:t>
            </a:r>
          </a:p>
          <a:p>
            <a:pPr marL="284163" lvl="1" indent="-171450" defTabSz="665550">
              <a:lnSpc>
                <a:spcPct val="100000"/>
              </a:lnSpc>
              <a:spcBef>
                <a:spcPts val="0"/>
              </a:spcBef>
              <a:buClr>
                <a:srgbClr val="0067B1"/>
              </a:buClr>
              <a:buSzPct val="100000"/>
              <a:buFont typeface="Wingdings" panose="05000000000000000000" pitchFamily="2" charset="2"/>
              <a:buChar char="ü"/>
              <a:defRPr/>
            </a:pPr>
            <a:r>
              <a:rPr lang="en-US" sz="900" b="0" dirty="0">
                <a:solidFill>
                  <a:srgbClr val="000000"/>
                </a:solidFill>
                <a:latin typeface="Arial" panose="020B0604020202020204"/>
                <a:cs typeface="+mn-cs"/>
              </a:rPr>
              <a:t>Change Requests:</a:t>
            </a:r>
          </a:p>
          <a:p>
            <a:pPr marL="284163" lvl="1" indent="-171450" defTabSz="665550">
              <a:lnSpc>
                <a:spcPct val="100000"/>
              </a:lnSpc>
              <a:spcBef>
                <a:spcPts val="0"/>
              </a:spcBef>
              <a:buClr>
                <a:srgbClr val="0067B1"/>
              </a:buClr>
              <a:buSzPct val="100000"/>
              <a:buFont typeface="Wingdings" panose="05000000000000000000" pitchFamily="2" charset="2"/>
              <a:buChar char="ü"/>
              <a:defRPr/>
            </a:pPr>
            <a:r>
              <a:rPr lang="en-US" sz="900" b="0" dirty="0">
                <a:solidFill>
                  <a:srgbClr val="000000"/>
                </a:solidFill>
                <a:latin typeface="Arial" panose="020B0604020202020204"/>
                <a:cs typeface="+mn-cs"/>
              </a:rPr>
              <a:t>Test Environment:</a:t>
            </a: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Joseph Lijo</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Kerry Youngblood</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8</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0" y="270144"/>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BAC/Fusion/Tie Code Tool/</a:t>
            </a:r>
            <a:r>
              <a:rPr lang="en-US" dirty="0" err="1">
                <a:solidFill>
                  <a:srgbClr val="000000"/>
                </a:solidFill>
                <a:latin typeface="Arial" panose="020B0604020202020204"/>
              </a:rPr>
              <a:t>Reportosaurus</a:t>
            </a:r>
            <a:r>
              <a:rPr lang="en-US" dirty="0">
                <a:solidFill>
                  <a:srgbClr val="000000"/>
                </a:solidFill>
                <a:latin typeface="Arial" panose="020B0604020202020204"/>
              </a:rPr>
              <a:t> Support</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50434" y="1290405"/>
            <a:ext cx="3065837" cy="1354666"/>
          </a:xfrm>
          <a:prstGeom prst="rect">
            <a:avLst/>
          </a:prstGeom>
          <a:noFill/>
        </p:spPr>
        <p:txBody>
          <a:bodyPr wrap="square">
            <a:spAutoFit/>
          </a:bodyPr>
          <a:lstStyle/>
          <a:p>
            <a:pPr defTabSz="665550">
              <a:lnSpc>
                <a:spcPct val="70000"/>
              </a:lnSpc>
              <a:buClr>
                <a:srgbClr val="0067B1"/>
              </a:buClr>
            </a:pPr>
            <a:r>
              <a:rPr lang="en-US" sz="900" b="1" dirty="0">
                <a:solidFill>
                  <a:srgbClr val="000000"/>
                </a:solidFill>
                <a:latin typeface="Arial" panose="020B0604020202020204"/>
              </a:rPr>
              <a:t>BAC/Fusion/Tie Code Tool/</a:t>
            </a:r>
            <a:r>
              <a:rPr lang="en-US" sz="900" b="1" dirty="0" err="1">
                <a:solidFill>
                  <a:srgbClr val="000000"/>
                </a:solidFill>
                <a:latin typeface="Arial" panose="020B0604020202020204"/>
              </a:rPr>
              <a:t>reportosaurus</a:t>
            </a:r>
            <a:r>
              <a:rPr lang="en-US" sz="900" b="1" dirty="0">
                <a:solidFill>
                  <a:srgbClr val="000000"/>
                </a:solidFill>
                <a:latin typeface="Arial" panose="020B0604020202020204"/>
              </a:rPr>
              <a:t> Support (interaction)</a:t>
            </a:r>
          </a:p>
          <a:p>
            <a:pPr marL="117472" indent="-117472" defTabSz="665550">
              <a:lnSpc>
                <a:spcPct val="70000"/>
              </a:lnSpc>
              <a:buClr>
                <a:srgbClr val="0067B1"/>
              </a:buClr>
              <a:buFont typeface="Wingdings" panose="05000000000000000000" pitchFamily="2" charset="2"/>
              <a:buChar char="§"/>
            </a:pPr>
            <a:r>
              <a:rPr lang="en-US" sz="900" dirty="0">
                <a:solidFill>
                  <a:srgbClr val="000000"/>
                </a:solidFill>
                <a:latin typeface="Arial" panose="020B0604020202020204"/>
              </a:rPr>
              <a:t>Columbus User has an issue/Change Request in BAC/Fusion/Tie Code Tool/</a:t>
            </a:r>
            <a:r>
              <a:rPr lang="en-US" sz="900" dirty="0" err="1">
                <a:solidFill>
                  <a:srgbClr val="000000"/>
                </a:solidFill>
                <a:latin typeface="Arial" panose="020B0604020202020204"/>
              </a:rPr>
              <a:t>Reportosarurs</a:t>
            </a:r>
            <a:endParaRPr lang="en-US" sz="900" dirty="0">
              <a:solidFill>
                <a:srgbClr val="000000"/>
              </a:solidFill>
              <a:latin typeface="Arial" panose="020B0604020202020204"/>
            </a:endParaRPr>
          </a:p>
          <a:p>
            <a:pPr marL="169863" lvl="1" indent="-115888" defTabSz="665550">
              <a:lnSpc>
                <a:spcPct val="70000"/>
              </a:lnSpc>
              <a:buClr>
                <a:srgbClr val="0067B1"/>
              </a:buClr>
              <a:buFont typeface="Wingdings" panose="05000000000000000000" pitchFamily="2" charset="2"/>
              <a:buChar char="§"/>
            </a:pPr>
            <a:r>
              <a:rPr lang="en-US" sz="900" dirty="0">
                <a:solidFill>
                  <a:srgbClr val="000000"/>
                </a:solidFill>
                <a:latin typeface="Arial" panose="020B0604020202020204"/>
              </a:rPr>
              <a:t>Depending on the request type, Columbus User informs  the request to Lumen Support </a:t>
            </a:r>
          </a:p>
          <a:p>
            <a:pPr marL="627063" lvl="2" indent="-115888" defTabSz="665550">
              <a:lnSpc>
                <a:spcPct val="70000"/>
              </a:lnSpc>
              <a:buClr>
                <a:srgbClr val="0067B1"/>
              </a:buClr>
              <a:buFont typeface="Wingdings" panose="05000000000000000000" pitchFamily="2" charset="2"/>
              <a:buChar char="§"/>
            </a:pPr>
            <a:r>
              <a:rPr lang="en-US" sz="900" dirty="0">
                <a:solidFill>
                  <a:srgbClr val="000000"/>
                </a:solidFill>
              </a:rPr>
              <a:t>Incident/Question/Access: </a:t>
            </a:r>
            <a:r>
              <a:rPr lang="en-US" sz="900" dirty="0">
                <a:solidFill>
                  <a:srgbClr val="000000"/>
                </a:solidFill>
                <a:hlinkClick r:id="rId6"/>
              </a:rPr>
              <a:t>fusionsupport@lumen.com</a:t>
            </a:r>
            <a:endParaRPr lang="en-US" sz="900" dirty="0">
              <a:solidFill>
                <a:srgbClr val="000000"/>
              </a:solidFill>
            </a:endParaRPr>
          </a:p>
          <a:p>
            <a:pPr marL="627063" lvl="2" indent="-115888" defTabSz="665550">
              <a:lnSpc>
                <a:spcPct val="70000"/>
              </a:lnSpc>
              <a:buClr>
                <a:srgbClr val="0067B1"/>
              </a:buClr>
              <a:buFont typeface="Wingdings" panose="05000000000000000000" pitchFamily="2" charset="2"/>
              <a:buChar char="§"/>
            </a:pPr>
            <a:r>
              <a:rPr lang="en-US" sz="900" dirty="0">
                <a:solidFill>
                  <a:srgbClr val="000000"/>
                </a:solidFill>
              </a:rPr>
              <a:t>Test Env Request: </a:t>
            </a:r>
            <a:r>
              <a:rPr lang="en-US" sz="900" dirty="0">
                <a:solidFill>
                  <a:srgbClr val="000000"/>
                </a:solidFill>
                <a:hlinkClick r:id="rId7"/>
              </a:rPr>
              <a:t>SharePoint</a:t>
            </a:r>
            <a:endParaRPr lang="en-US" sz="900" dirty="0">
              <a:solidFill>
                <a:srgbClr val="000000"/>
              </a:solidFill>
            </a:endParaRPr>
          </a:p>
          <a:p>
            <a:pPr marL="627063" lvl="2" indent="-115888" defTabSz="665550">
              <a:lnSpc>
                <a:spcPct val="70000"/>
              </a:lnSpc>
              <a:buClr>
                <a:srgbClr val="0067B1"/>
              </a:buClr>
              <a:buFont typeface="Wingdings" panose="05000000000000000000" pitchFamily="2" charset="2"/>
              <a:buChar char="§"/>
            </a:pPr>
            <a:r>
              <a:rPr lang="en-US" sz="900" dirty="0">
                <a:solidFill>
                  <a:srgbClr val="000000"/>
                </a:solidFill>
              </a:rPr>
              <a:t>Change Requests: CFSPROCESS@lumen.com</a:t>
            </a:r>
          </a:p>
          <a:p>
            <a:pPr marL="117472" indent="-117472" defTabSz="665550">
              <a:lnSpc>
                <a:spcPct val="70000"/>
              </a:lnSpc>
              <a:buClr>
                <a:srgbClr val="0067B1"/>
              </a:buClr>
              <a:buFont typeface="Wingdings" panose="05000000000000000000" pitchFamily="2" charset="2"/>
              <a:buChar char="§"/>
            </a:pPr>
            <a:r>
              <a:rPr lang="en-US" sz="900" dirty="0">
                <a:solidFill>
                  <a:srgbClr val="000000"/>
                </a:solidFill>
                <a:latin typeface="Arial" panose="020B0604020202020204"/>
              </a:rPr>
              <a:t>Lumen Fusion Support receives request and solved, based on SLA</a:t>
            </a:r>
          </a:p>
        </p:txBody>
      </p:sp>
      <p:sp>
        <p:nvSpPr>
          <p:cNvPr id="44" name="TextBox 43">
            <a:extLst>
              <a:ext uri="{FF2B5EF4-FFF2-40B4-BE49-F238E27FC236}">
                <a16:creationId xmlns:a16="http://schemas.microsoft.com/office/drawing/2014/main" id="{BAAB01BB-1A36-4887-9BA4-EA88AFA174C6}"/>
              </a:ext>
            </a:extLst>
          </p:cNvPr>
          <p:cNvSpPr txBox="1"/>
          <p:nvPr/>
        </p:nvSpPr>
        <p:spPr>
          <a:xfrm>
            <a:off x="3399633" y="1781321"/>
            <a:ext cx="1156856" cy="215444"/>
          </a:xfrm>
          <a:prstGeom prst="rect">
            <a:avLst/>
          </a:prstGeom>
          <a:solidFill>
            <a:schemeClr val="accent4">
              <a:lumMod val="20000"/>
              <a:lumOff val="80000"/>
            </a:schemeClr>
          </a:solidFill>
          <a:ln>
            <a:solidFill>
              <a:schemeClr val="accent4">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p:txBody>
      </p:sp>
      <p:sp>
        <p:nvSpPr>
          <p:cNvPr id="45" name="TextBox 44">
            <a:extLst>
              <a:ext uri="{FF2B5EF4-FFF2-40B4-BE49-F238E27FC236}">
                <a16:creationId xmlns:a16="http://schemas.microsoft.com/office/drawing/2014/main" id="{2CDBF9DC-3716-4CB1-9583-86E89C48226D}"/>
              </a:ext>
            </a:extLst>
          </p:cNvPr>
          <p:cNvSpPr txBox="1"/>
          <p:nvPr/>
        </p:nvSpPr>
        <p:spPr>
          <a:xfrm>
            <a:off x="473711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p:txBody>
      </p:sp>
      <p:sp>
        <p:nvSpPr>
          <p:cNvPr id="46" name="TextBox 45">
            <a:extLst>
              <a:ext uri="{FF2B5EF4-FFF2-40B4-BE49-F238E27FC236}">
                <a16:creationId xmlns:a16="http://schemas.microsoft.com/office/drawing/2014/main" id="{38012B40-B0BF-4FB1-B315-1AF1E84F5A4A}"/>
              </a:ext>
            </a:extLst>
          </p:cNvPr>
          <p:cNvSpPr txBox="1"/>
          <p:nvPr/>
        </p:nvSpPr>
        <p:spPr>
          <a:xfrm>
            <a:off x="604073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solve Request</a:t>
            </a:r>
          </a:p>
        </p:txBody>
      </p:sp>
      <p:cxnSp>
        <p:nvCxnSpPr>
          <p:cNvPr id="47" name="Straight Arrow Connector 46">
            <a:extLst>
              <a:ext uri="{FF2B5EF4-FFF2-40B4-BE49-F238E27FC236}">
                <a16:creationId xmlns:a16="http://schemas.microsoft.com/office/drawing/2014/main" id="{F50520C6-57BD-40D7-AA50-58556C5420E4}"/>
              </a:ext>
            </a:extLst>
          </p:cNvPr>
          <p:cNvCxnSpPr>
            <a:cxnSpLocks/>
            <a:stCxn id="44" idx="3"/>
            <a:endCxn id="45" idx="1"/>
          </p:cNvCxnSpPr>
          <p:nvPr/>
        </p:nvCxnSpPr>
        <p:spPr>
          <a:xfrm flipV="1">
            <a:off x="4556489" y="1887480"/>
            <a:ext cx="180626" cy="15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97F1DBDD-2142-4F0F-B514-8ECC73A6614B}"/>
              </a:ext>
            </a:extLst>
          </p:cNvPr>
          <p:cNvCxnSpPr>
            <a:cxnSpLocks/>
            <a:stCxn id="45" idx="3"/>
            <a:endCxn id="46" idx="1"/>
          </p:cNvCxnSpPr>
          <p:nvPr/>
        </p:nvCxnSpPr>
        <p:spPr>
          <a:xfrm>
            <a:off x="589397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DD340258-1989-4BE5-AAD4-0FE30AFB94EF}"/>
              </a:ext>
            </a:extLst>
          </p:cNvPr>
          <p:cNvSpPr/>
          <p:nvPr/>
        </p:nvSpPr>
        <p:spPr>
          <a:xfrm>
            <a:off x="5252160" y="224448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5314515" y="2258659"/>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55" name="Oval 54">
            <a:extLst>
              <a:ext uri="{FF2B5EF4-FFF2-40B4-BE49-F238E27FC236}">
                <a16:creationId xmlns:a16="http://schemas.microsoft.com/office/drawing/2014/main" id="{FBF08FD3-136E-4631-95FC-EC60E3ECBEF8}"/>
              </a:ext>
            </a:extLst>
          </p:cNvPr>
          <p:cNvSpPr/>
          <p:nvPr/>
        </p:nvSpPr>
        <p:spPr>
          <a:xfrm>
            <a:off x="6228935" y="2244488"/>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6298070" y="2269067"/>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37" name="TextBox 45">
            <a:extLst>
              <a:ext uri="{FF2B5EF4-FFF2-40B4-BE49-F238E27FC236}">
                <a16:creationId xmlns:a16="http://schemas.microsoft.com/office/drawing/2014/main" id="{6A2CD731-851B-4170-828B-5DDD01CFD185}"/>
              </a:ext>
            </a:extLst>
          </p:cNvPr>
          <p:cNvSpPr txBox="1"/>
          <p:nvPr/>
        </p:nvSpPr>
        <p:spPr>
          <a:xfrm>
            <a:off x="7344355" y="1779758"/>
            <a:ext cx="1156856" cy="215444"/>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38" name="Straight Arrow Connector 49">
            <a:extLst>
              <a:ext uri="{FF2B5EF4-FFF2-40B4-BE49-F238E27FC236}">
                <a16:creationId xmlns:a16="http://schemas.microsoft.com/office/drawing/2014/main" id="{82653661-FA00-455E-AC19-DCF889BD08A5}"/>
              </a:ext>
            </a:extLst>
          </p:cNvPr>
          <p:cNvCxnSpPr>
            <a:cxnSpLocks/>
            <a:stCxn id="46" idx="3"/>
            <a:endCxn id="37" idx="1"/>
          </p:cNvCxnSpPr>
          <p:nvPr/>
        </p:nvCxnSpPr>
        <p:spPr>
          <a:xfrm>
            <a:off x="7197591" y="1887480"/>
            <a:ext cx="1467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ángulo 30">
            <a:extLst>
              <a:ext uri="{FF2B5EF4-FFF2-40B4-BE49-F238E27FC236}">
                <a16:creationId xmlns:a16="http://schemas.microsoft.com/office/drawing/2014/main" id="{37CF51E5-D707-4504-982E-E6496C8B8C7A}"/>
              </a:ext>
            </a:extLst>
          </p:cNvPr>
          <p:cNvSpPr/>
          <p:nvPr/>
        </p:nvSpPr>
        <p:spPr>
          <a:xfrm>
            <a:off x="6264897" y="3818607"/>
            <a:ext cx="2324556" cy="8181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err="1"/>
              <a:t>NA:Tratamiento</a:t>
            </a:r>
            <a:r>
              <a:rPr lang="es-AR" dirty="0"/>
              <a:t> por ticket de ticket</a:t>
            </a:r>
            <a:endParaRPr lang="en-US" dirty="0"/>
          </a:p>
        </p:txBody>
      </p:sp>
    </p:spTree>
    <p:extLst>
      <p:ext uri="{BB962C8B-B14F-4D97-AF65-F5344CB8AC3E}">
        <p14:creationId xmlns:p14="http://schemas.microsoft.com/office/powerpoint/2010/main" val="726273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2">
            <a:extLst>
              <a:ext uri="{FF2B5EF4-FFF2-40B4-BE49-F238E27FC236}">
                <a16:creationId xmlns:a16="http://schemas.microsoft.com/office/drawing/2014/main" id="{24141C6D-5E4F-46C6-9CFF-32EED42237D6}"/>
              </a:ext>
            </a:extLst>
          </p:cNvPr>
          <p:cNvSpPr>
            <a:spLocks/>
          </p:cNvSpPr>
          <p:nvPr/>
        </p:nvSpPr>
        <p:spPr>
          <a:xfrm>
            <a:off x="4860745" y="965386"/>
            <a:ext cx="1990111" cy="3990995"/>
          </a:xfrm>
          <a:prstGeom prst="rect">
            <a:avLst/>
          </a:prstGeom>
          <a:solidFill>
            <a:schemeClr val="bg1">
              <a:lumMod val="95000"/>
              <a:alpha val="4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a:defRPr/>
            </a:pPr>
            <a:endParaRPr lang="en-US" sz="525" dirty="0">
              <a:solidFill>
                <a:srgbClr val="000000"/>
              </a:solidFill>
            </a:endParaRPr>
          </a:p>
        </p:txBody>
      </p:sp>
      <p:sp>
        <p:nvSpPr>
          <p:cNvPr id="5" name="Rectangle 98">
            <a:extLst>
              <a:ext uri="{FF2B5EF4-FFF2-40B4-BE49-F238E27FC236}">
                <a16:creationId xmlns:a16="http://schemas.microsoft.com/office/drawing/2014/main" id="{4C010045-2BE2-4299-85BC-0F7AC8D08FFD}"/>
              </a:ext>
            </a:extLst>
          </p:cNvPr>
          <p:cNvSpPr>
            <a:spLocks/>
          </p:cNvSpPr>
          <p:nvPr/>
        </p:nvSpPr>
        <p:spPr>
          <a:xfrm>
            <a:off x="797578" y="965386"/>
            <a:ext cx="1995629" cy="3990995"/>
          </a:xfrm>
          <a:prstGeom prst="rect">
            <a:avLst/>
          </a:prstGeom>
          <a:solidFill>
            <a:schemeClr val="bg1">
              <a:lumMod val="95000"/>
              <a:alpha val="4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a:defRPr/>
            </a:pPr>
            <a:endParaRPr lang="en-US" sz="525" dirty="0">
              <a:solidFill>
                <a:srgbClr val="000000"/>
              </a:solidFill>
            </a:endParaRPr>
          </a:p>
        </p:txBody>
      </p:sp>
      <p:cxnSp>
        <p:nvCxnSpPr>
          <p:cNvPr id="7" name="Straight Connector 102">
            <a:extLst>
              <a:ext uri="{FF2B5EF4-FFF2-40B4-BE49-F238E27FC236}">
                <a16:creationId xmlns:a16="http://schemas.microsoft.com/office/drawing/2014/main" id="{37B2ACB8-09B2-442B-A56F-2770A67C9A6E}"/>
              </a:ext>
            </a:extLst>
          </p:cNvPr>
          <p:cNvCxnSpPr>
            <a:cxnSpLocks/>
          </p:cNvCxnSpPr>
          <p:nvPr/>
        </p:nvCxnSpPr>
        <p:spPr>
          <a:xfrm>
            <a:off x="98629" y="1690159"/>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109">
            <a:extLst>
              <a:ext uri="{FF2B5EF4-FFF2-40B4-BE49-F238E27FC236}">
                <a16:creationId xmlns:a16="http://schemas.microsoft.com/office/drawing/2014/main" id="{E68820BD-BE71-4D01-B450-5E98A0B04383}"/>
              </a:ext>
            </a:extLst>
          </p:cNvPr>
          <p:cNvSpPr txBox="1"/>
          <p:nvPr/>
        </p:nvSpPr>
        <p:spPr>
          <a:xfrm>
            <a:off x="121491" y="1084286"/>
            <a:ext cx="576128" cy="307777"/>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1000" b="1" dirty="0">
                <a:solidFill>
                  <a:schemeClr val="accent5"/>
                </a:solidFill>
              </a:rPr>
              <a:t>Role/ Region</a:t>
            </a:r>
          </a:p>
        </p:txBody>
      </p:sp>
      <p:grpSp>
        <p:nvGrpSpPr>
          <p:cNvPr id="11" name="Group 42">
            <a:extLst>
              <a:ext uri="{FF2B5EF4-FFF2-40B4-BE49-F238E27FC236}">
                <a16:creationId xmlns:a16="http://schemas.microsoft.com/office/drawing/2014/main" id="{99E903BA-2B5A-4136-9254-C20261D25C54}"/>
              </a:ext>
            </a:extLst>
          </p:cNvPr>
          <p:cNvGrpSpPr/>
          <p:nvPr>
            <p:custDataLst>
              <p:tags r:id="rId1"/>
            </p:custDataLst>
          </p:nvPr>
        </p:nvGrpSpPr>
        <p:grpSpPr>
          <a:xfrm>
            <a:off x="797577" y="503210"/>
            <a:ext cx="2023274" cy="462177"/>
            <a:chOff x="1076924" y="808460"/>
            <a:chExt cx="2697698" cy="267993"/>
          </a:xfrm>
          <a:solidFill>
            <a:schemeClr val="accent4">
              <a:lumMod val="20000"/>
              <a:lumOff val="80000"/>
            </a:schemeClr>
          </a:solidFill>
        </p:grpSpPr>
        <p:sp>
          <p:nvSpPr>
            <p:cNvPr id="12" name="Freeform: Shape 113">
              <a:extLst>
                <a:ext uri="{FF2B5EF4-FFF2-40B4-BE49-F238E27FC236}">
                  <a16:creationId xmlns:a16="http://schemas.microsoft.com/office/drawing/2014/main" id="{AB7C3D6F-ADC4-43AE-A45F-7364548DC147}"/>
                </a:ext>
              </a:extLst>
            </p:cNvPr>
            <p:cNvSpPr/>
            <p:nvPr>
              <p:custDataLst>
                <p:tags r:id="rId30"/>
              </p:custDataLst>
            </p:nvPr>
          </p:nvSpPr>
          <p:spPr>
            <a:xfrm>
              <a:off x="107692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50198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860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7860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0" y="457202"/>
                  </a:lnTo>
                  <a:close/>
                </a:path>
              </a:pathLst>
            </a:custGeom>
            <a:grp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3" name="TextBox 114">
              <a:extLst>
                <a:ext uri="{FF2B5EF4-FFF2-40B4-BE49-F238E27FC236}">
                  <a16:creationId xmlns:a16="http://schemas.microsoft.com/office/drawing/2014/main" id="{28FA5A63-8300-46DF-927D-2A5E432F2027}"/>
                </a:ext>
              </a:extLst>
            </p:cNvPr>
            <p:cNvSpPr txBox="1"/>
            <p:nvPr>
              <p:custDataLst>
                <p:tags r:id="rId31"/>
              </p:custDataLst>
            </p:nvPr>
          </p:nvSpPr>
          <p:spPr>
            <a:xfrm>
              <a:off x="1140424" y="827071"/>
              <a:ext cx="2585959"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reate Request</a:t>
              </a:r>
            </a:p>
          </p:txBody>
        </p:sp>
      </p:grpSp>
      <p:grpSp>
        <p:nvGrpSpPr>
          <p:cNvPr id="14" name="Group 41">
            <a:extLst>
              <a:ext uri="{FF2B5EF4-FFF2-40B4-BE49-F238E27FC236}">
                <a16:creationId xmlns:a16="http://schemas.microsoft.com/office/drawing/2014/main" id="{F4F1705B-FC8C-4FAB-9BD4-E8AC4CA3B7F1}"/>
              </a:ext>
            </a:extLst>
          </p:cNvPr>
          <p:cNvGrpSpPr/>
          <p:nvPr>
            <p:custDataLst>
              <p:tags r:id="rId2"/>
            </p:custDataLst>
          </p:nvPr>
        </p:nvGrpSpPr>
        <p:grpSpPr>
          <a:xfrm>
            <a:off x="2829161" y="503210"/>
            <a:ext cx="2023274" cy="462177"/>
            <a:chOff x="3776711" y="808460"/>
            <a:chExt cx="2697698" cy="267993"/>
          </a:xfrm>
          <a:solidFill>
            <a:schemeClr val="accent5">
              <a:lumMod val="20000"/>
              <a:lumOff val="80000"/>
            </a:schemeClr>
          </a:solidFill>
        </p:grpSpPr>
        <p:sp>
          <p:nvSpPr>
            <p:cNvPr id="15" name="Freeform: Shape 116">
              <a:extLst>
                <a:ext uri="{FF2B5EF4-FFF2-40B4-BE49-F238E27FC236}">
                  <a16:creationId xmlns:a16="http://schemas.microsoft.com/office/drawing/2014/main" id="{DD603928-DDB8-4EEA-AD16-509847D6518E}"/>
                </a:ext>
              </a:extLst>
            </p:cNvPr>
            <p:cNvSpPr/>
            <p:nvPr>
              <p:custDataLst>
                <p:tags r:id="rId28"/>
              </p:custDataLst>
            </p:nvPr>
          </p:nvSpPr>
          <p:spPr>
            <a:xfrm>
              <a:off x="3776711"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33715 w 1828800"/>
                <a:gd name="connsiteY5" fmla="*/ 457202 h 914400"/>
                <a:gd name="connsiteX0" fmla="*/ 0 w 1828800"/>
                <a:gd name="connsiteY0" fmla="*/ 0 h 914400"/>
                <a:gd name="connsiteX1" fmla="*/ 179508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508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31135 w 1828800"/>
                <a:gd name="connsiteY5" fmla="*/ 457202 h 914400"/>
                <a:gd name="connsiteX0" fmla="*/ 0 w 1828800"/>
                <a:gd name="connsiteY0" fmla="*/ 0 h 914400"/>
                <a:gd name="connsiteX1" fmla="*/ 1797665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766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6" name="TextBox 117">
              <a:extLst>
                <a:ext uri="{FF2B5EF4-FFF2-40B4-BE49-F238E27FC236}">
                  <a16:creationId xmlns:a16="http://schemas.microsoft.com/office/drawing/2014/main" id="{81037181-B510-469D-B3CB-5C50B670A61D}"/>
                </a:ext>
              </a:extLst>
            </p:cNvPr>
            <p:cNvSpPr txBox="1"/>
            <p:nvPr>
              <p:custDataLst>
                <p:tags r:id="rId29"/>
              </p:custDataLst>
            </p:nvPr>
          </p:nvSpPr>
          <p:spPr>
            <a:xfrm>
              <a:off x="3875750"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Receive Request</a:t>
              </a:r>
            </a:p>
          </p:txBody>
        </p:sp>
      </p:grpSp>
      <p:grpSp>
        <p:nvGrpSpPr>
          <p:cNvPr id="17" name="Group 40">
            <a:extLst>
              <a:ext uri="{FF2B5EF4-FFF2-40B4-BE49-F238E27FC236}">
                <a16:creationId xmlns:a16="http://schemas.microsoft.com/office/drawing/2014/main" id="{A1664725-DFF1-4FE1-9500-3425ACECF963}"/>
              </a:ext>
            </a:extLst>
          </p:cNvPr>
          <p:cNvGrpSpPr/>
          <p:nvPr>
            <p:custDataLst>
              <p:tags r:id="rId3"/>
            </p:custDataLst>
          </p:nvPr>
        </p:nvGrpSpPr>
        <p:grpSpPr>
          <a:xfrm>
            <a:off x="4860745" y="511172"/>
            <a:ext cx="2023274" cy="459486"/>
            <a:chOff x="6476498" y="808460"/>
            <a:chExt cx="2697698" cy="267993"/>
          </a:xfrm>
          <a:solidFill>
            <a:schemeClr val="accent5">
              <a:lumMod val="20000"/>
              <a:lumOff val="80000"/>
            </a:schemeClr>
          </a:solidFill>
        </p:grpSpPr>
        <p:sp>
          <p:nvSpPr>
            <p:cNvPr id="18" name="Freeform: Shape 119">
              <a:extLst>
                <a:ext uri="{FF2B5EF4-FFF2-40B4-BE49-F238E27FC236}">
                  <a16:creationId xmlns:a16="http://schemas.microsoft.com/office/drawing/2014/main" id="{4CAD7AE4-534B-4D16-B9EB-259300351FA5}"/>
                </a:ext>
              </a:extLst>
            </p:cNvPr>
            <p:cNvSpPr/>
            <p:nvPr>
              <p:custDataLst>
                <p:tags r:id="rId26"/>
              </p:custDataLst>
            </p:nvPr>
          </p:nvSpPr>
          <p:spPr>
            <a:xfrm>
              <a:off x="6476498"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1318 w 1828800"/>
                <a:gd name="connsiteY5" fmla="*/ 457202 h 914400"/>
                <a:gd name="connsiteX0" fmla="*/ 0 w 1828800"/>
                <a:gd name="connsiteY0" fmla="*/ 0 h 914400"/>
                <a:gd name="connsiteX1" fmla="*/ 1807482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807482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29901 w 1828800"/>
                <a:gd name="connsiteY5" fmla="*/ 457202 h 914400"/>
                <a:gd name="connsiteX0" fmla="*/ 0 w 1828800"/>
                <a:gd name="connsiteY0" fmla="*/ 0 h 914400"/>
                <a:gd name="connsiteX1" fmla="*/ 1798899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889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19" name="TextBox 121">
              <a:extLst>
                <a:ext uri="{FF2B5EF4-FFF2-40B4-BE49-F238E27FC236}">
                  <a16:creationId xmlns:a16="http://schemas.microsoft.com/office/drawing/2014/main" id="{A7859E00-6DA0-4870-BAC6-664C52798747}"/>
                </a:ext>
              </a:extLst>
            </p:cNvPr>
            <p:cNvSpPr txBox="1"/>
            <p:nvPr>
              <p:custDataLst>
                <p:tags r:id="rId27"/>
              </p:custDataLst>
            </p:nvPr>
          </p:nvSpPr>
          <p:spPr>
            <a:xfrm>
              <a:off x="6575537"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Resolve Request</a:t>
              </a:r>
            </a:p>
          </p:txBody>
        </p:sp>
      </p:grpSp>
      <p:grpSp>
        <p:nvGrpSpPr>
          <p:cNvPr id="20" name="Group 39">
            <a:extLst>
              <a:ext uri="{FF2B5EF4-FFF2-40B4-BE49-F238E27FC236}">
                <a16:creationId xmlns:a16="http://schemas.microsoft.com/office/drawing/2014/main" id="{930CF7CD-95EA-4DFA-A9C1-7E78B3D1BED0}"/>
              </a:ext>
            </a:extLst>
          </p:cNvPr>
          <p:cNvGrpSpPr/>
          <p:nvPr>
            <p:custDataLst>
              <p:tags r:id="rId4"/>
            </p:custDataLst>
          </p:nvPr>
        </p:nvGrpSpPr>
        <p:grpSpPr>
          <a:xfrm>
            <a:off x="6892330" y="511173"/>
            <a:ext cx="2023274" cy="459486"/>
            <a:chOff x="9176284" y="808460"/>
            <a:chExt cx="2697698" cy="267993"/>
          </a:xfrm>
          <a:solidFill>
            <a:schemeClr val="accent5">
              <a:lumMod val="20000"/>
              <a:lumOff val="80000"/>
            </a:schemeClr>
          </a:solidFill>
        </p:grpSpPr>
        <p:sp>
          <p:nvSpPr>
            <p:cNvPr id="21" name="Freeform: Shape 123">
              <a:extLst>
                <a:ext uri="{FF2B5EF4-FFF2-40B4-BE49-F238E27FC236}">
                  <a16:creationId xmlns:a16="http://schemas.microsoft.com/office/drawing/2014/main" id="{B229536C-F74D-4EDD-8D23-39A4040AA3CF}"/>
                </a:ext>
              </a:extLst>
            </p:cNvPr>
            <p:cNvSpPr/>
            <p:nvPr>
              <p:custDataLst>
                <p:tags r:id="rId24"/>
              </p:custDataLst>
            </p:nvPr>
          </p:nvSpPr>
          <p:spPr>
            <a:xfrm>
              <a:off x="9176284" y="808460"/>
              <a:ext cx="2697698" cy="26799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48239 w 1828800"/>
                <a:gd name="connsiteY5" fmla="*/ 457202 h 914400"/>
                <a:gd name="connsiteX0" fmla="*/ 0 w 1828800"/>
                <a:gd name="connsiteY0" fmla="*/ 0 h 914400"/>
                <a:gd name="connsiteX1" fmla="*/ 1780561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056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43414 w 1828800"/>
                <a:gd name="connsiteY5" fmla="*/ 457202 h 914400"/>
                <a:gd name="connsiteX0" fmla="*/ 0 w 1828800"/>
                <a:gd name="connsiteY0" fmla="*/ 0 h 914400"/>
                <a:gd name="connsiteX1" fmla="*/ 178538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538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40954 w 1828800"/>
                <a:gd name="connsiteY5" fmla="*/ 457202 h 914400"/>
                <a:gd name="connsiteX0" fmla="*/ 0 w 1828800"/>
                <a:gd name="connsiteY0" fmla="*/ 0 h 914400"/>
                <a:gd name="connsiteX1" fmla="*/ 1787846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87846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32378 w 1828800"/>
                <a:gd name="connsiteY5" fmla="*/ 457202 h 914400"/>
                <a:gd name="connsiteX0" fmla="*/ 0 w 1828800"/>
                <a:gd name="connsiteY0" fmla="*/ 0 h 914400"/>
                <a:gd name="connsiteX1" fmla="*/ 1796422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42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 name="connsiteX0" fmla="*/ 0 w 1828800"/>
                <a:gd name="connsiteY0" fmla="*/ 0 h 914400"/>
                <a:gd name="connsiteX1" fmla="*/ 1796098 w 1828800"/>
                <a:gd name="connsiteY1" fmla="*/ 0 h 914400"/>
                <a:gd name="connsiteX2" fmla="*/ 1828800 w 1828800"/>
                <a:gd name="connsiteY2" fmla="*/ 457200 h 914400"/>
                <a:gd name="connsiteX3" fmla="*/ 1796098 w 1828800"/>
                <a:gd name="connsiteY3" fmla="*/ 914400 h 914400"/>
                <a:gd name="connsiteX4" fmla="*/ 0 w 1828800"/>
                <a:gd name="connsiteY4" fmla="*/ 914400 h 914400"/>
                <a:gd name="connsiteX5" fmla="*/ 32702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6098" y="0"/>
                  </a:lnTo>
                  <a:lnTo>
                    <a:pt x="1828800" y="457200"/>
                  </a:lnTo>
                  <a:lnTo>
                    <a:pt x="1796098" y="914400"/>
                  </a:lnTo>
                  <a:lnTo>
                    <a:pt x="0" y="914400"/>
                  </a:lnTo>
                  <a:lnTo>
                    <a:pt x="32702" y="457202"/>
                  </a:lnTo>
                  <a:close/>
                </a:path>
              </a:pathLst>
            </a:custGeom>
            <a:grp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50000"/>
                    <a:lumOff val="50000"/>
                  </a:schemeClr>
                </a:solidFill>
              </a:endParaRPr>
            </a:p>
          </p:txBody>
        </p:sp>
        <p:sp>
          <p:nvSpPr>
            <p:cNvPr id="22" name="TextBox 126">
              <a:extLst>
                <a:ext uri="{FF2B5EF4-FFF2-40B4-BE49-F238E27FC236}">
                  <a16:creationId xmlns:a16="http://schemas.microsoft.com/office/drawing/2014/main" id="{7C5C8D58-56B4-4F64-AD3C-0B89A11448F9}"/>
                </a:ext>
              </a:extLst>
            </p:cNvPr>
            <p:cNvSpPr txBox="1"/>
            <p:nvPr>
              <p:custDataLst>
                <p:tags r:id="rId25"/>
              </p:custDataLst>
            </p:nvPr>
          </p:nvSpPr>
          <p:spPr>
            <a:xfrm>
              <a:off x="9275323" y="827071"/>
              <a:ext cx="2550420" cy="230772"/>
            </a:xfrm>
            <a:prstGeom prst="rect">
              <a:avLst/>
            </a:prstGeom>
            <a:grpFill/>
            <a:ln>
              <a:noFill/>
            </a:ln>
          </p:spPr>
          <p:txBody>
            <a:bodyPr vert="horz" wrap="square" lIns="0" tIns="0" rIns="0" bIns="0" rtlCol="0" anchor="ctr">
              <a:no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n-US" sz="900" b="1" dirty="0">
                  <a:solidFill>
                    <a:schemeClr val="tx1">
                      <a:lumMod val="50000"/>
                      <a:lumOff val="50000"/>
                    </a:schemeClr>
                  </a:solidFill>
                </a:rPr>
                <a:t>Close Request</a:t>
              </a:r>
            </a:p>
          </p:txBody>
        </p:sp>
      </p:grpSp>
      <p:sp>
        <p:nvSpPr>
          <p:cNvPr id="34" name="TextBox 13">
            <a:extLst>
              <a:ext uri="{FF2B5EF4-FFF2-40B4-BE49-F238E27FC236}">
                <a16:creationId xmlns:a16="http://schemas.microsoft.com/office/drawing/2014/main" id="{DDACEBEF-1077-489F-8E9E-A02302C0CDCF}"/>
              </a:ext>
            </a:extLst>
          </p:cNvPr>
          <p:cNvSpPr txBox="1">
            <a:spLocks/>
          </p:cNvSpPr>
          <p:nvPr>
            <p:custDataLst>
              <p:tags r:id="rId5"/>
            </p:custDataLst>
          </p:nvPr>
        </p:nvSpPr>
        <p:spPr>
          <a:xfrm>
            <a:off x="2916026" y="1162087"/>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sp>
        <p:nvSpPr>
          <p:cNvPr id="35" name="TextBox 18">
            <a:extLst>
              <a:ext uri="{FF2B5EF4-FFF2-40B4-BE49-F238E27FC236}">
                <a16:creationId xmlns:a16="http://schemas.microsoft.com/office/drawing/2014/main" id="{9C1E0856-8BE2-4B08-B8FF-0DCEE1E3FA5A}"/>
              </a:ext>
            </a:extLst>
          </p:cNvPr>
          <p:cNvSpPr txBox="1"/>
          <p:nvPr>
            <p:custDataLst>
              <p:tags r:id="rId6"/>
            </p:custDataLst>
          </p:nvPr>
        </p:nvSpPr>
        <p:spPr>
          <a:xfrm>
            <a:off x="1000020" y="1052022"/>
            <a:ext cx="1493513" cy="76944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s-AR" sz="800" dirty="0"/>
              <a:t>C</a:t>
            </a:r>
            <a:r>
              <a:rPr lang="en-US" sz="800" dirty="0"/>
              <a:t>FS Analyst/LATAM</a:t>
            </a:r>
          </a:p>
          <a:p>
            <a:pPr marL="128588" indent="-128588">
              <a:spcBef>
                <a:spcPts val="300"/>
              </a:spcBef>
              <a:buFont typeface="Arial" panose="020B0604020202020204" pitchFamily="34" charset="0"/>
              <a:buChar char="•"/>
            </a:pPr>
            <a:r>
              <a:rPr lang="en-US" sz="800" dirty="0"/>
              <a:t>CSM/LATAM</a:t>
            </a:r>
          </a:p>
          <a:p>
            <a:pPr marL="128588" indent="-128588">
              <a:spcBef>
                <a:spcPts val="300"/>
              </a:spcBef>
              <a:buFont typeface="Arial" panose="020B0604020202020204" pitchFamily="34" charset="0"/>
              <a:buChar char="•"/>
            </a:pPr>
            <a:r>
              <a:rPr lang="en-US" sz="800" dirty="0"/>
              <a:t>SM/LATAM</a:t>
            </a:r>
          </a:p>
          <a:p>
            <a:pPr marL="128588" indent="-128588">
              <a:spcBef>
                <a:spcPts val="300"/>
              </a:spcBef>
              <a:buFont typeface="Arial" panose="020B0604020202020204" pitchFamily="34" charset="0"/>
              <a:buChar char="•"/>
            </a:pPr>
            <a:r>
              <a:rPr lang="en-US" sz="800" dirty="0"/>
              <a:t>OM/LATAM</a:t>
            </a:r>
          </a:p>
          <a:p>
            <a:pPr marL="128588" indent="-128588">
              <a:spcBef>
                <a:spcPts val="300"/>
              </a:spcBef>
              <a:buFont typeface="Arial" panose="020B0604020202020204" pitchFamily="34" charset="0"/>
              <a:buChar char="•"/>
            </a:pPr>
            <a:endParaRPr lang="en-US" sz="800" dirty="0"/>
          </a:p>
        </p:txBody>
      </p:sp>
      <p:sp>
        <p:nvSpPr>
          <p:cNvPr id="127" name="TextBox 109">
            <a:extLst>
              <a:ext uri="{FF2B5EF4-FFF2-40B4-BE49-F238E27FC236}">
                <a16:creationId xmlns:a16="http://schemas.microsoft.com/office/drawing/2014/main" id="{E74BAF50-621C-4E43-8998-16CE22E12A01}"/>
              </a:ext>
            </a:extLst>
          </p:cNvPr>
          <p:cNvSpPr txBox="1"/>
          <p:nvPr/>
        </p:nvSpPr>
        <p:spPr>
          <a:xfrm>
            <a:off x="98630" y="2193450"/>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Activities</a:t>
            </a:r>
            <a:endParaRPr lang="en-US" sz="1000" b="1" dirty="0">
              <a:solidFill>
                <a:schemeClr val="accent5"/>
              </a:solidFill>
            </a:endParaRPr>
          </a:p>
        </p:txBody>
      </p:sp>
      <p:cxnSp>
        <p:nvCxnSpPr>
          <p:cNvPr id="128" name="Straight Connector 102">
            <a:extLst>
              <a:ext uri="{FF2B5EF4-FFF2-40B4-BE49-F238E27FC236}">
                <a16:creationId xmlns:a16="http://schemas.microsoft.com/office/drawing/2014/main" id="{C7E8E748-724A-40C4-9C13-42E7B5CF732A}"/>
              </a:ext>
            </a:extLst>
          </p:cNvPr>
          <p:cNvCxnSpPr>
            <a:cxnSpLocks/>
          </p:cNvCxnSpPr>
          <p:nvPr/>
        </p:nvCxnSpPr>
        <p:spPr>
          <a:xfrm>
            <a:off x="98629" y="2799177"/>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9" name="TextBox 109">
            <a:extLst>
              <a:ext uri="{FF2B5EF4-FFF2-40B4-BE49-F238E27FC236}">
                <a16:creationId xmlns:a16="http://schemas.microsoft.com/office/drawing/2014/main" id="{1B12C7AD-EB0B-4D95-AE52-DED4493BFAE1}"/>
              </a:ext>
            </a:extLst>
          </p:cNvPr>
          <p:cNvSpPr txBox="1"/>
          <p:nvPr/>
        </p:nvSpPr>
        <p:spPr>
          <a:xfrm>
            <a:off x="151385" y="3199122"/>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Timing</a:t>
            </a:r>
            <a:endParaRPr lang="en-US" sz="1000" b="1" dirty="0">
              <a:solidFill>
                <a:schemeClr val="accent5"/>
              </a:solidFill>
            </a:endParaRPr>
          </a:p>
        </p:txBody>
      </p:sp>
      <p:cxnSp>
        <p:nvCxnSpPr>
          <p:cNvPr id="130" name="Straight Connector 102">
            <a:extLst>
              <a:ext uri="{FF2B5EF4-FFF2-40B4-BE49-F238E27FC236}">
                <a16:creationId xmlns:a16="http://schemas.microsoft.com/office/drawing/2014/main" id="{2708C5CA-2BB0-473D-AD61-02443C3AE84A}"/>
              </a:ext>
            </a:extLst>
          </p:cNvPr>
          <p:cNvCxnSpPr>
            <a:cxnSpLocks/>
          </p:cNvCxnSpPr>
          <p:nvPr/>
        </p:nvCxnSpPr>
        <p:spPr>
          <a:xfrm>
            <a:off x="98629" y="3670493"/>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1" name="TextBox 109">
            <a:extLst>
              <a:ext uri="{FF2B5EF4-FFF2-40B4-BE49-F238E27FC236}">
                <a16:creationId xmlns:a16="http://schemas.microsoft.com/office/drawing/2014/main" id="{3ED66421-925C-4A72-B180-586B65BBB974}"/>
              </a:ext>
            </a:extLst>
          </p:cNvPr>
          <p:cNvSpPr txBox="1"/>
          <p:nvPr/>
        </p:nvSpPr>
        <p:spPr>
          <a:xfrm>
            <a:off x="160177" y="4022664"/>
            <a:ext cx="576128" cy="153888"/>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Tools</a:t>
            </a:r>
            <a:endParaRPr lang="en-US" sz="1000" b="1" dirty="0">
              <a:solidFill>
                <a:schemeClr val="accent5"/>
              </a:solidFill>
            </a:endParaRPr>
          </a:p>
        </p:txBody>
      </p:sp>
      <p:sp>
        <p:nvSpPr>
          <p:cNvPr id="132" name="TextBox 18">
            <a:extLst>
              <a:ext uri="{FF2B5EF4-FFF2-40B4-BE49-F238E27FC236}">
                <a16:creationId xmlns:a16="http://schemas.microsoft.com/office/drawing/2014/main" id="{3A1C1A72-16BF-4529-983D-BDE109850C93}"/>
              </a:ext>
            </a:extLst>
          </p:cNvPr>
          <p:cNvSpPr txBox="1"/>
          <p:nvPr>
            <p:custDataLst>
              <p:tags r:id="rId7"/>
            </p:custDataLst>
          </p:nvPr>
        </p:nvSpPr>
        <p:spPr>
          <a:xfrm>
            <a:off x="961770" y="1862755"/>
            <a:ext cx="1493513" cy="76944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spcBef>
                <a:spcPts val="300"/>
              </a:spcBef>
            </a:pPr>
            <a:r>
              <a:rPr lang="es-AR" sz="800" b="1" dirty="0" err="1"/>
              <a:t>Requests</a:t>
            </a:r>
            <a:r>
              <a:rPr lang="es-AR" sz="800" b="1" dirty="0"/>
              <a:t> </a:t>
            </a:r>
            <a:r>
              <a:rPr lang="es-AR" sz="800" b="1" dirty="0" err="1"/>
              <a:t>Types</a:t>
            </a:r>
            <a:endParaRPr lang="es-AR" sz="800" b="1" dirty="0"/>
          </a:p>
          <a:p>
            <a:pPr marL="128588" indent="-128588">
              <a:spcBef>
                <a:spcPts val="300"/>
              </a:spcBef>
              <a:buFont typeface="Arial" panose="020B0604020202020204" pitchFamily="34" charset="0"/>
              <a:buChar char="•"/>
            </a:pPr>
            <a:r>
              <a:rPr lang="en-US" sz="800" dirty="0"/>
              <a:t>Incidents:</a:t>
            </a:r>
          </a:p>
          <a:p>
            <a:pPr marL="128588" indent="-128588">
              <a:spcBef>
                <a:spcPts val="300"/>
              </a:spcBef>
              <a:buFont typeface="Arial" panose="020B0604020202020204" pitchFamily="34" charset="0"/>
              <a:buChar char="•"/>
            </a:pPr>
            <a:r>
              <a:rPr lang="en-US" sz="800" dirty="0"/>
              <a:t>Access Requests</a:t>
            </a:r>
          </a:p>
          <a:p>
            <a:pPr marL="128588" indent="-128588">
              <a:spcBef>
                <a:spcPts val="300"/>
              </a:spcBef>
              <a:buFont typeface="Arial" panose="020B0604020202020204" pitchFamily="34" charset="0"/>
              <a:buChar char="•"/>
            </a:pPr>
            <a:r>
              <a:rPr lang="en-US" sz="800" dirty="0"/>
              <a:t>Change Requests</a:t>
            </a:r>
          </a:p>
          <a:p>
            <a:pPr marL="128588" indent="-128588">
              <a:spcBef>
                <a:spcPts val="300"/>
              </a:spcBef>
              <a:buFont typeface="Arial" panose="020B0604020202020204" pitchFamily="34" charset="0"/>
              <a:buChar char="•"/>
            </a:pPr>
            <a:r>
              <a:rPr lang="en-US" sz="800" dirty="0"/>
              <a:t>Test Environment Requests</a:t>
            </a:r>
          </a:p>
        </p:txBody>
      </p:sp>
      <p:sp>
        <p:nvSpPr>
          <p:cNvPr id="133" name="TextBox 18">
            <a:extLst>
              <a:ext uri="{FF2B5EF4-FFF2-40B4-BE49-F238E27FC236}">
                <a16:creationId xmlns:a16="http://schemas.microsoft.com/office/drawing/2014/main" id="{819575EB-5389-432F-A520-D5BC414668BD}"/>
              </a:ext>
            </a:extLst>
          </p:cNvPr>
          <p:cNvSpPr txBox="1"/>
          <p:nvPr>
            <p:custDataLst>
              <p:tags r:id="rId8"/>
            </p:custDataLst>
          </p:nvPr>
        </p:nvSpPr>
        <p:spPr>
          <a:xfrm>
            <a:off x="2916025" y="186082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136" name="TextBox 18">
            <a:extLst>
              <a:ext uri="{FF2B5EF4-FFF2-40B4-BE49-F238E27FC236}">
                <a16:creationId xmlns:a16="http://schemas.microsoft.com/office/drawing/2014/main" id="{D07379DF-3F27-40C0-8964-C4C6F379E61F}"/>
              </a:ext>
            </a:extLst>
          </p:cNvPr>
          <p:cNvSpPr txBox="1"/>
          <p:nvPr>
            <p:custDataLst>
              <p:tags r:id="rId9"/>
            </p:custDataLst>
          </p:nvPr>
        </p:nvSpPr>
        <p:spPr>
          <a:xfrm>
            <a:off x="2916025" y="2934842"/>
            <a:ext cx="1493513" cy="446276"/>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Immediately</a:t>
            </a:r>
          </a:p>
          <a:p>
            <a:pPr marL="128588" indent="-128588">
              <a:spcBef>
                <a:spcPts val="300"/>
              </a:spcBef>
              <a:buFont typeface="Arial" panose="020B0604020202020204" pitchFamily="34" charset="0"/>
              <a:buChar char="•"/>
            </a:pPr>
            <a:r>
              <a:rPr lang="en-US" sz="800" dirty="0"/>
              <a:t>24 hours for initial response.</a:t>
            </a:r>
          </a:p>
          <a:p>
            <a:pPr marL="128588" indent="-128588">
              <a:spcBef>
                <a:spcPts val="300"/>
              </a:spcBef>
              <a:buFont typeface="Arial" panose="020B0604020202020204" pitchFamily="34" charset="0"/>
              <a:buChar char="•"/>
            </a:pPr>
            <a:endParaRPr lang="en-US" sz="800" dirty="0"/>
          </a:p>
        </p:txBody>
      </p:sp>
      <p:sp>
        <p:nvSpPr>
          <p:cNvPr id="137" name="TextBox 18">
            <a:extLst>
              <a:ext uri="{FF2B5EF4-FFF2-40B4-BE49-F238E27FC236}">
                <a16:creationId xmlns:a16="http://schemas.microsoft.com/office/drawing/2014/main" id="{E79325FA-EF90-45F6-98ED-B5952226A932}"/>
              </a:ext>
            </a:extLst>
          </p:cNvPr>
          <p:cNvSpPr txBox="1"/>
          <p:nvPr>
            <p:custDataLst>
              <p:tags r:id="rId10"/>
            </p:custDataLst>
          </p:nvPr>
        </p:nvSpPr>
        <p:spPr>
          <a:xfrm>
            <a:off x="1048635" y="313796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ot specified</a:t>
            </a:r>
          </a:p>
        </p:txBody>
      </p:sp>
      <p:sp>
        <p:nvSpPr>
          <p:cNvPr id="138" name="TextBox 18">
            <a:extLst>
              <a:ext uri="{FF2B5EF4-FFF2-40B4-BE49-F238E27FC236}">
                <a16:creationId xmlns:a16="http://schemas.microsoft.com/office/drawing/2014/main" id="{8093E3D7-AC8C-4695-A108-C0923E90FAA1}"/>
              </a:ext>
            </a:extLst>
          </p:cNvPr>
          <p:cNvSpPr txBox="1"/>
          <p:nvPr>
            <p:custDataLst>
              <p:tags r:id="rId11"/>
            </p:custDataLst>
          </p:nvPr>
        </p:nvSpPr>
        <p:spPr>
          <a:xfrm>
            <a:off x="4980109" y="2934842"/>
            <a:ext cx="1493513" cy="607859"/>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Incidents:</a:t>
            </a:r>
          </a:p>
          <a:p>
            <a:pPr marL="128588" indent="-128588">
              <a:spcBef>
                <a:spcPts val="300"/>
              </a:spcBef>
              <a:buFont typeface="Arial" panose="020B0604020202020204" pitchFamily="34" charset="0"/>
              <a:buChar char="•"/>
            </a:pPr>
            <a:r>
              <a:rPr lang="en-US" sz="800" dirty="0"/>
              <a:t>Access Requests</a:t>
            </a:r>
          </a:p>
          <a:p>
            <a:pPr marL="128588" indent="-128588">
              <a:spcBef>
                <a:spcPts val="300"/>
              </a:spcBef>
              <a:buFont typeface="Arial" panose="020B0604020202020204" pitchFamily="34" charset="0"/>
              <a:buChar char="•"/>
            </a:pPr>
            <a:r>
              <a:rPr lang="en-US" sz="800" dirty="0"/>
              <a:t>Change Requests</a:t>
            </a:r>
          </a:p>
          <a:p>
            <a:pPr marL="128588" indent="-128588">
              <a:spcBef>
                <a:spcPts val="300"/>
              </a:spcBef>
              <a:buFont typeface="Arial" panose="020B0604020202020204" pitchFamily="34" charset="0"/>
              <a:buChar char="•"/>
            </a:pPr>
            <a:r>
              <a:rPr lang="en-US" sz="800" dirty="0"/>
              <a:t>Test Environment Requests</a:t>
            </a:r>
          </a:p>
        </p:txBody>
      </p:sp>
      <p:cxnSp>
        <p:nvCxnSpPr>
          <p:cNvPr id="141" name="Straight Connector 102">
            <a:extLst>
              <a:ext uri="{FF2B5EF4-FFF2-40B4-BE49-F238E27FC236}">
                <a16:creationId xmlns:a16="http://schemas.microsoft.com/office/drawing/2014/main" id="{4A455BB8-E835-44B5-8271-A5BFC104693D}"/>
              </a:ext>
            </a:extLst>
          </p:cNvPr>
          <p:cNvCxnSpPr>
            <a:cxnSpLocks/>
          </p:cNvCxnSpPr>
          <p:nvPr/>
        </p:nvCxnSpPr>
        <p:spPr>
          <a:xfrm>
            <a:off x="98629" y="4380357"/>
            <a:ext cx="8757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2" name="TextBox 109">
            <a:extLst>
              <a:ext uri="{FF2B5EF4-FFF2-40B4-BE49-F238E27FC236}">
                <a16:creationId xmlns:a16="http://schemas.microsoft.com/office/drawing/2014/main" id="{3D75881E-02D9-4EB7-9D70-F086182E1A13}"/>
              </a:ext>
            </a:extLst>
          </p:cNvPr>
          <p:cNvSpPr txBox="1"/>
          <p:nvPr/>
        </p:nvSpPr>
        <p:spPr>
          <a:xfrm>
            <a:off x="-54216" y="4527952"/>
            <a:ext cx="1054235" cy="307777"/>
          </a:xfrm>
          <a:prstGeom prst="rect">
            <a:avLst/>
          </a:prstGeom>
        </p:spPr>
        <p:txBody>
          <a:bodyPr vert="horz" wrap="square" lIns="0" tIns="0" rIns="0" bIns="0" rtlCol="0" anchor="ctr"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algn="ctr"/>
            <a:r>
              <a:rPr lang="es-AR" sz="1000" b="1" dirty="0">
                <a:solidFill>
                  <a:schemeClr val="accent5"/>
                </a:solidFill>
              </a:rPr>
              <a:t>Other Considerations</a:t>
            </a:r>
            <a:endParaRPr lang="en-US" sz="1000" b="1" dirty="0">
              <a:solidFill>
                <a:schemeClr val="accent5"/>
              </a:solidFill>
            </a:endParaRPr>
          </a:p>
        </p:txBody>
      </p:sp>
      <p:sp>
        <p:nvSpPr>
          <p:cNvPr id="144" name="TextBox 18">
            <a:extLst>
              <a:ext uri="{FF2B5EF4-FFF2-40B4-BE49-F238E27FC236}">
                <a16:creationId xmlns:a16="http://schemas.microsoft.com/office/drawing/2014/main" id="{A04A4D17-01DC-49A1-B863-411E3C746B97}"/>
              </a:ext>
            </a:extLst>
          </p:cNvPr>
          <p:cNvSpPr txBox="1"/>
          <p:nvPr>
            <p:custDataLst>
              <p:tags r:id="rId12"/>
            </p:custDataLst>
          </p:nvPr>
        </p:nvSpPr>
        <p:spPr>
          <a:xfrm>
            <a:off x="898486" y="3795712"/>
            <a:ext cx="1781511" cy="492443"/>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12713" indent="-112713" defTabSz="665550">
              <a:buClr>
                <a:srgbClr val="0067B1"/>
              </a:buClr>
              <a:buFont typeface="Arial" panose="020B0604020202020204" pitchFamily="34" charset="0"/>
              <a:buChar char="•"/>
            </a:pPr>
            <a:r>
              <a:rPr lang="en-US" sz="800" dirty="0">
                <a:solidFill>
                  <a:srgbClr val="000000"/>
                </a:solidFill>
              </a:rPr>
              <a:t>Incident/Question/Access/Change Requests: </a:t>
            </a:r>
            <a:r>
              <a:rPr lang="en-US" sz="800" dirty="0">
                <a:solidFill>
                  <a:srgbClr val="000000"/>
                </a:solidFill>
                <a:hlinkClick r:id="rId34"/>
              </a:rPr>
              <a:t>fusionsupport@lumen.com</a:t>
            </a:r>
            <a:endParaRPr lang="en-US" sz="800" dirty="0">
              <a:solidFill>
                <a:srgbClr val="000000"/>
              </a:solidFill>
            </a:endParaRPr>
          </a:p>
          <a:p>
            <a:pPr marL="57150" indent="-57150" defTabSz="665550">
              <a:buClr>
                <a:srgbClr val="0067B1"/>
              </a:buClr>
              <a:buFont typeface="Arial" panose="020B0604020202020204" pitchFamily="34" charset="0"/>
              <a:buChar char="•"/>
            </a:pPr>
            <a:r>
              <a:rPr lang="en-US" sz="800" dirty="0">
                <a:solidFill>
                  <a:srgbClr val="000000"/>
                </a:solidFill>
              </a:rPr>
              <a:t>Test Env Request: </a:t>
            </a:r>
            <a:r>
              <a:rPr lang="en-US" sz="800" dirty="0">
                <a:solidFill>
                  <a:srgbClr val="000000"/>
                </a:solidFill>
                <a:hlinkClick r:id="rId35"/>
              </a:rPr>
              <a:t>SharePoint</a:t>
            </a:r>
            <a:endParaRPr lang="en-US" sz="800" dirty="0">
              <a:solidFill>
                <a:srgbClr val="000000"/>
              </a:solidFill>
            </a:endParaRPr>
          </a:p>
        </p:txBody>
      </p:sp>
      <p:sp>
        <p:nvSpPr>
          <p:cNvPr id="148" name="TextBox 18">
            <a:extLst>
              <a:ext uri="{FF2B5EF4-FFF2-40B4-BE49-F238E27FC236}">
                <a16:creationId xmlns:a16="http://schemas.microsoft.com/office/drawing/2014/main" id="{E06A1FD3-C2D2-45FC-914C-1A8454C99169}"/>
              </a:ext>
            </a:extLst>
          </p:cNvPr>
          <p:cNvSpPr txBox="1"/>
          <p:nvPr>
            <p:custDataLst>
              <p:tags r:id="rId13"/>
            </p:custDataLst>
          </p:nvPr>
        </p:nvSpPr>
        <p:spPr>
          <a:xfrm>
            <a:off x="1000020" y="4426760"/>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grpSp>
        <p:nvGrpSpPr>
          <p:cNvPr id="3" name="Grupo 2">
            <a:extLst>
              <a:ext uri="{FF2B5EF4-FFF2-40B4-BE49-F238E27FC236}">
                <a16:creationId xmlns:a16="http://schemas.microsoft.com/office/drawing/2014/main" id="{37E3A0C4-1E1D-4AA4-A08B-4BFC23DB7E92}"/>
              </a:ext>
            </a:extLst>
          </p:cNvPr>
          <p:cNvGrpSpPr/>
          <p:nvPr/>
        </p:nvGrpSpPr>
        <p:grpSpPr>
          <a:xfrm>
            <a:off x="5491403" y="4962127"/>
            <a:ext cx="1964437" cy="136443"/>
            <a:chOff x="5455991" y="4953423"/>
            <a:chExt cx="1964437" cy="136443"/>
          </a:xfrm>
        </p:grpSpPr>
        <p:sp>
          <p:nvSpPr>
            <p:cNvPr id="47" name="Oval 51">
              <a:extLst>
                <a:ext uri="{FF2B5EF4-FFF2-40B4-BE49-F238E27FC236}">
                  <a16:creationId xmlns:a16="http://schemas.microsoft.com/office/drawing/2014/main" id="{9F9098E7-5EA8-407D-8B05-6B10D8EE0DB6}"/>
                </a:ext>
              </a:extLst>
            </p:cNvPr>
            <p:cNvSpPr/>
            <p:nvPr/>
          </p:nvSpPr>
          <p:spPr>
            <a:xfrm>
              <a:off x="5455991" y="4953423"/>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48" name="Text Placeholder 2">
              <a:extLst>
                <a:ext uri="{FF2B5EF4-FFF2-40B4-BE49-F238E27FC236}">
                  <a16:creationId xmlns:a16="http://schemas.microsoft.com/office/drawing/2014/main" id="{1D337682-4CBB-4221-BA40-A90EC544DB1B}"/>
                </a:ext>
              </a:extLst>
            </p:cNvPr>
            <p:cNvSpPr txBox="1">
              <a:spLocks/>
            </p:cNvSpPr>
            <p:nvPr/>
          </p:nvSpPr>
          <p:spPr>
            <a:xfrm>
              <a:off x="5518346" y="4967594"/>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49" name="Oval 54">
              <a:extLst>
                <a:ext uri="{FF2B5EF4-FFF2-40B4-BE49-F238E27FC236}">
                  <a16:creationId xmlns:a16="http://schemas.microsoft.com/office/drawing/2014/main" id="{500739BF-5AEF-457C-A127-69A9790F8BB0}"/>
                </a:ext>
              </a:extLst>
            </p:cNvPr>
            <p:cNvSpPr/>
            <p:nvPr/>
          </p:nvSpPr>
          <p:spPr>
            <a:xfrm>
              <a:off x="6432766" y="495342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0" name="Text Placeholder 2">
              <a:extLst>
                <a:ext uri="{FF2B5EF4-FFF2-40B4-BE49-F238E27FC236}">
                  <a16:creationId xmlns:a16="http://schemas.microsoft.com/office/drawing/2014/main" id="{86F66A3A-109E-4071-8165-531399BFB0F8}"/>
                </a:ext>
              </a:extLst>
            </p:cNvPr>
            <p:cNvSpPr txBox="1">
              <a:spLocks/>
            </p:cNvSpPr>
            <p:nvPr/>
          </p:nvSpPr>
          <p:spPr>
            <a:xfrm>
              <a:off x="6512789" y="4989763"/>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grpSp>
      <p:sp>
        <p:nvSpPr>
          <p:cNvPr id="51" name="TextBox 13">
            <a:extLst>
              <a:ext uri="{FF2B5EF4-FFF2-40B4-BE49-F238E27FC236}">
                <a16:creationId xmlns:a16="http://schemas.microsoft.com/office/drawing/2014/main" id="{2EC86C43-5C80-40B3-BCDF-CC26B8D9BEEC}"/>
              </a:ext>
            </a:extLst>
          </p:cNvPr>
          <p:cNvSpPr txBox="1">
            <a:spLocks/>
          </p:cNvSpPr>
          <p:nvPr>
            <p:custDataLst>
              <p:tags r:id="rId14"/>
            </p:custDataLst>
          </p:nvPr>
        </p:nvSpPr>
        <p:spPr>
          <a:xfrm>
            <a:off x="4978858" y="1214856"/>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sp>
        <p:nvSpPr>
          <p:cNvPr id="52" name="TextBox 18">
            <a:extLst>
              <a:ext uri="{FF2B5EF4-FFF2-40B4-BE49-F238E27FC236}">
                <a16:creationId xmlns:a16="http://schemas.microsoft.com/office/drawing/2014/main" id="{57FA4176-7A76-4A19-B6AC-D82BC797C0D5}"/>
              </a:ext>
            </a:extLst>
          </p:cNvPr>
          <p:cNvSpPr txBox="1"/>
          <p:nvPr>
            <p:custDataLst>
              <p:tags r:id="rId15"/>
            </p:custDataLst>
          </p:nvPr>
        </p:nvSpPr>
        <p:spPr>
          <a:xfrm>
            <a:off x="5077371" y="1877341"/>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3" name="TextBox 18">
            <a:extLst>
              <a:ext uri="{FF2B5EF4-FFF2-40B4-BE49-F238E27FC236}">
                <a16:creationId xmlns:a16="http://schemas.microsoft.com/office/drawing/2014/main" id="{3E7866A8-3F65-48E9-9F1A-BF0E613A781E}"/>
              </a:ext>
            </a:extLst>
          </p:cNvPr>
          <p:cNvSpPr txBox="1"/>
          <p:nvPr>
            <p:custDataLst>
              <p:tags r:id="rId16"/>
            </p:custDataLst>
          </p:nvPr>
        </p:nvSpPr>
        <p:spPr>
          <a:xfrm>
            <a:off x="6966608" y="186082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4" name="TextBox 18">
            <a:extLst>
              <a:ext uri="{FF2B5EF4-FFF2-40B4-BE49-F238E27FC236}">
                <a16:creationId xmlns:a16="http://schemas.microsoft.com/office/drawing/2014/main" id="{EE3ED2DD-29BA-4BB0-B65C-7CE97B7AA98F}"/>
              </a:ext>
            </a:extLst>
          </p:cNvPr>
          <p:cNvSpPr txBox="1"/>
          <p:nvPr>
            <p:custDataLst>
              <p:tags r:id="rId17"/>
            </p:custDataLst>
          </p:nvPr>
        </p:nvSpPr>
        <p:spPr>
          <a:xfrm>
            <a:off x="2916025" y="3926421"/>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5" name="TextBox 18">
            <a:extLst>
              <a:ext uri="{FF2B5EF4-FFF2-40B4-BE49-F238E27FC236}">
                <a16:creationId xmlns:a16="http://schemas.microsoft.com/office/drawing/2014/main" id="{22942DCE-1251-4692-ADF1-7BAB01CA93DC}"/>
              </a:ext>
            </a:extLst>
          </p:cNvPr>
          <p:cNvSpPr txBox="1"/>
          <p:nvPr>
            <p:custDataLst>
              <p:tags r:id="rId18"/>
            </p:custDataLst>
          </p:nvPr>
        </p:nvSpPr>
        <p:spPr>
          <a:xfrm>
            <a:off x="5032894" y="3965683"/>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6" name="TextBox 18">
            <a:extLst>
              <a:ext uri="{FF2B5EF4-FFF2-40B4-BE49-F238E27FC236}">
                <a16:creationId xmlns:a16="http://schemas.microsoft.com/office/drawing/2014/main" id="{A87CCD7B-C6A2-48B6-8A4E-823BC08C6908}"/>
              </a:ext>
            </a:extLst>
          </p:cNvPr>
          <p:cNvSpPr txBox="1"/>
          <p:nvPr>
            <p:custDataLst>
              <p:tags r:id="rId19"/>
            </p:custDataLst>
          </p:nvPr>
        </p:nvSpPr>
        <p:spPr>
          <a:xfrm>
            <a:off x="7046711" y="395389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TBC by NA</a:t>
            </a:r>
          </a:p>
        </p:txBody>
      </p:sp>
      <p:sp>
        <p:nvSpPr>
          <p:cNvPr id="58" name="TextBox 18">
            <a:extLst>
              <a:ext uri="{FF2B5EF4-FFF2-40B4-BE49-F238E27FC236}">
                <a16:creationId xmlns:a16="http://schemas.microsoft.com/office/drawing/2014/main" id="{57C586E9-2343-4CF7-A03E-6E0AD82F47DE}"/>
              </a:ext>
            </a:extLst>
          </p:cNvPr>
          <p:cNvSpPr txBox="1"/>
          <p:nvPr>
            <p:custDataLst>
              <p:tags r:id="rId20"/>
            </p:custDataLst>
          </p:nvPr>
        </p:nvSpPr>
        <p:spPr>
          <a:xfrm>
            <a:off x="2927128" y="4436629"/>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59" name="TextBox 18">
            <a:extLst>
              <a:ext uri="{FF2B5EF4-FFF2-40B4-BE49-F238E27FC236}">
                <a16:creationId xmlns:a16="http://schemas.microsoft.com/office/drawing/2014/main" id="{9A7D7F2D-5B4C-46DC-8C15-2E477782F6BD}"/>
              </a:ext>
            </a:extLst>
          </p:cNvPr>
          <p:cNvSpPr txBox="1"/>
          <p:nvPr>
            <p:custDataLst>
              <p:tags r:id="rId21"/>
            </p:custDataLst>
          </p:nvPr>
        </p:nvSpPr>
        <p:spPr>
          <a:xfrm>
            <a:off x="5032893" y="4419619"/>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60" name="TextBox 18">
            <a:extLst>
              <a:ext uri="{FF2B5EF4-FFF2-40B4-BE49-F238E27FC236}">
                <a16:creationId xmlns:a16="http://schemas.microsoft.com/office/drawing/2014/main" id="{2905019A-E0B3-4C6D-825B-C7643909B160}"/>
              </a:ext>
            </a:extLst>
          </p:cNvPr>
          <p:cNvSpPr txBox="1"/>
          <p:nvPr>
            <p:custDataLst>
              <p:tags r:id="rId22"/>
            </p:custDataLst>
          </p:nvPr>
        </p:nvSpPr>
        <p:spPr>
          <a:xfrm>
            <a:off x="7086884" y="4482047"/>
            <a:ext cx="1493513"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N/A</a:t>
            </a:r>
          </a:p>
        </p:txBody>
      </p:sp>
      <p:sp>
        <p:nvSpPr>
          <p:cNvPr id="63" name="Title 1">
            <a:extLst>
              <a:ext uri="{FF2B5EF4-FFF2-40B4-BE49-F238E27FC236}">
                <a16:creationId xmlns:a16="http://schemas.microsoft.com/office/drawing/2014/main" id="{23064993-61B2-4002-90E2-F281B374F458}"/>
              </a:ext>
            </a:extLst>
          </p:cNvPr>
          <p:cNvSpPr txBox="1">
            <a:spLocks/>
          </p:cNvSpPr>
          <p:nvPr/>
        </p:nvSpPr>
        <p:spPr>
          <a:xfrm>
            <a:off x="228396" y="201195"/>
            <a:ext cx="7402893"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Finance / CFS | BAC/Fusion/Tie Code Tool /</a:t>
            </a:r>
            <a:r>
              <a:rPr lang="en-US" dirty="0" err="1">
                <a:solidFill>
                  <a:srgbClr val="000000"/>
                </a:solidFill>
                <a:latin typeface="Arial" panose="020B0604020202020204"/>
              </a:rPr>
              <a:t>Reportosaurus</a:t>
            </a:r>
            <a:endParaRPr lang="en-US" dirty="0">
              <a:solidFill>
                <a:srgbClr val="000000"/>
              </a:solidFill>
              <a:latin typeface="Arial" panose="020B0604020202020204"/>
            </a:endParaRPr>
          </a:p>
          <a:p>
            <a:pPr defTabSz="685783"/>
            <a:r>
              <a:rPr lang="en-US" dirty="0">
                <a:solidFill>
                  <a:srgbClr val="000000"/>
                </a:solidFill>
                <a:latin typeface="Arial" panose="020B0604020202020204"/>
              </a:rPr>
              <a:t>Support – Operating Model</a:t>
            </a:r>
          </a:p>
        </p:txBody>
      </p:sp>
      <p:sp>
        <p:nvSpPr>
          <p:cNvPr id="64" name="TextBox 13">
            <a:extLst>
              <a:ext uri="{FF2B5EF4-FFF2-40B4-BE49-F238E27FC236}">
                <a16:creationId xmlns:a16="http://schemas.microsoft.com/office/drawing/2014/main" id="{53CF9B2C-0E94-4B71-9700-2BC9CCF40A7A}"/>
              </a:ext>
            </a:extLst>
          </p:cNvPr>
          <p:cNvSpPr txBox="1">
            <a:spLocks/>
          </p:cNvSpPr>
          <p:nvPr>
            <p:custDataLst>
              <p:tags r:id="rId23"/>
            </p:custDataLst>
          </p:nvPr>
        </p:nvSpPr>
        <p:spPr>
          <a:xfrm>
            <a:off x="6916336" y="1229675"/>
            <a:ext cx="1690540" cy="123111"/>
          </a:xfrm>
          <a:prstGeom prst="rect">
            <a:avLst/>
          </a:prstGeom>
        </p:spPr>
        <p:txBody>
          <a:bodyPr vert="horz" wrap="square" lIns="0" tIns="0" rIns="0" bIns="0" rtlCol="0" anchor="t" anchorCtr="0">
            <a:spAutoFit/>
          </a:bodyPr>
          <a:lstStyle>
            <a:lvl1pPr lvl="0" indent="0" defTabSz="1218026" fontAlgn="base">
              <a:spcBef>
                <a:spcPct val="0"/>
              </a:spcBef>
              <a:spcAft>
                <a:spcPct val="0"/>
              </a:spcAft>
              <a:buClr>
                <a:schemeClr val="tx2"/>
              </a:buClr>
              <a:buSzPct val="100000"/>
              <a:defRPr lang="x-none" sz="1600" baseline="0"/>
            </a:lvl1pPr>
            <a:lvl2pPr marL="256026" lvl="1" indent="-256026" defTabSz="1218026" fontAlgn="base">
              <a:spcBef>
                <a:spcPct val="0"/>
              </a:spcBef>
              <a:spcAft>
                <a:spcPct val="0"/>
              </a:spcAft>
              <a:buClr>
                <a:schemeClr val="tx2"/>
              </a:buClr>
              <a:buSzPct val="125000"/>
              <a:buFont typeface="Arial" charset="0"/>
              <a:buChar char="▪"/>
              <a:defRPr lang="x-none" sz="1600" baseline="0"/>
            </a:lvl2pPr>
            <a:lvl3pPr marL="609585" lvl="2" indent="-353559" defTabSz="1218026" fontAlgn="base">
              <a:spcBef>
                <a:spcPct val="0"/>
              </a:spcBef>
              <a:spcAft>
                <a:spcPct val="0"/>
              </a:spcAft>
              <a:buClr>
                <a:schemeClr val="tx2"/>
              </a:buClr>
              <a:buSzPct val="120000"/>
              <a:buFont typeface="Arial" charset="0"/>
              <a:buChar char="–"/>
              <a:defRPr lang="x-none" sz="1600" baseline="0"/>
            </a:lvl3pPr>
            <a:lvl4pPr marL="835774" lvl="3" indent="-207259" defTabSz="1218026" fontAlgn="base">
              <a:spcBef>
                <a:spcPct val="0"/>
              </a:spcBef>
              <a:spcAft>
                <a:spcPct val="0"/>
              </a:spcAft>
              <a:buClr>
                <a:schemeClr val="tx2"/>
              </a:buClr>
              <a:buSzPct val="120000"/>
              <a:buFont typeface="Arial" charset="0"/>
              <a:buChar char="▫"/>
              <a:defRPr lang="x-none" sz="1600" baseline="0"/>
            </a:lvl4pPr>
            <a:lvl5pPr marL="999719" lvl="4" indent="-170684" defTabSz="1218026" fontAlgn="base">
              <a:spcBef>
                <a:spcPct val="0"/>
              </a:spcBef>
              <a:spcAft>
                <a:spcPct val="0"/>
              </a:spcAft>
              <a:buClr>
                <a:schemeClr val="tx2"/>
              </a:buClr>
              <a:buSzPct val="89000"/>
              <a:buFont typeface="Arial" charset="0"/>
              <a:buChar char="-"/>
              <a:defRPr lang="x-none" sz="1600" baseline="0"/>
            </a:lvl5pPr>
            <a:lvl6pPr marL="1020030" indent="-177089" defTabSz="1218026" fontAlgn="base">
              <a:spcBef>
                <a:spcPct val="0"/>
              </a:spcBef>
              <a:spcAft>
                <a:spcPct val="0"/>
              </a:spcAft>
              <a:buClr>
                <a:schemeClr val="tx2"/>
              </a:buClr>
              <a:buSzPct val="89000"/>
              <a:buFont typeface="Arial" charset="0"/>
              <a:buChar char="-"/>
              <a:defRPr lang="x-none" sz="2176" baseline="0"/>
            </a:lvl6pPr>
            <a:lvl7pPr marL="1020030" indent="-177089" defTabSz="1218026" fontAlgn="base">
              <a:spcBef>
                <a:spcPct val="0"/>
              </a:spcBef>
              <a:spcAft>
                <a:spcPct val="0"/>
              </a:spcAft>
              <a:buClr>
                <a:schemeClr val="tx2"/>
              </a:buClr>
              <a:buSzPct val="89000"/>
              <a:buFont typeface="Arial" charset="0"/>
              <a:buChar char="-"/>
              <a:defRPr lang="x-none" sz="2176" baseline="0"/>
            </a:lvl7pPr>
            <a:lvl8pPr marL="1020030" indent="-177089" defTabSz="1218026" fontAlgn="base">
              <a:spcBef>
                <a:spcPct val="0"/>
              </a:spcBef>
              <a:spcAft>
                <a:spcPct val="0"/>
              </a:spcAft>
              <a:buClr>
                <a:schemeClr val="tx2"/>
              </a:buClr>
              <a:buSzPct val="89000"/>
              <a:buFont typeface="Arial" charset="0"/>
              <a:buChar char="-"/>
              <a:defRPr lang="x-none" sz="2176" baseline="0"/>
            </a:lvl8pPr>
            <a:lvl9pPr marL="1020030" indent="-177089" defTabSz="1218026" fontAlgn="base">
              <a:spcBef>
                <a:spcPct val="0"/>
              </a:spcBef>
              <a:spcAft>
                <a:spcPct val="0"/>
              </a:spcAft>
              <a:buClr>
                <a:schemeClr val="tx2"/>
              </a:buClr>
              <a:buSzPct val="89000"/>
              <a:buFont typeface="Arial" charset="0"/>
              <a:buChar char="-"/>
              <a:defRPr lang="x-none" sz="2176" baseline="0"/>
            </a:lvl9pPr>
          </a:lstStyle>
          <a:p>
            <a:pPr marL="128588" indent="-128588">
              <a:spcBef>
                <a:spcPts val="300"/>
              </a:spcBef>
              <a:buFont typeface="Arial" panose="020B0604020202020204" pitchFamily="34" charset="0"/>
              <a:buChar char="•"/>
            </a:pPr>
            <a:r>
              <a:rPr lang="en-US" sz="800" dirty="0"/>
              <a:t>Fusion Support Analyst/Lumen</a:t>
            </a:r>
          </a:p>
        </p:txBody>
      </p:sp>
    </p:spTree>
    <p:extLst>
      <p:ext uri="{BB962C8B-B14F-4D97-AF65-F5344CB8AC3E}">
        <p14:creationId xmlns:p14="http://schemas.microsoft.com/office/powerpoint/2010/main" val="1560648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ASYMASTER" val="FTI US_Widescree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Flow2"/>
</p:tagLst>
</file>

<file path=ppt/tags/tag11.xml><?xml version="1.0" encoding="utf-8"?>
<p:tagLst xmlns:a="http://schemas.openxmlformats.org/drawingml/2006/main" xmlns:r="http://schemas.openxmlformats.org/officeDocument/2006/relationships" xmlns:p="http://schemas.openxmlformats.org/presentationml/2006/main">
  <p:tag name="NAME" val="Flow2"/>
</p:tagLst>
</file>

<file path=ppt/tags/tag12.xml><?xml version="1.0" encoding="utf-8"?>
<p:tagLst xmlns:a="http://schemas.openxmlformats.org/drawingml/2006/main" xmlns:r="http://schemas.openxmlformats.org/officeDocument/2006/relationships" xmlns:p="http://schemas.openxmlformats.org/presentationml/2006/main">
  <p:tag name="NAME" val="Flow2"/>
</p:tagLst>
</file>

<file path=ppt/tags/tag1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2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3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32.xml><?xml version="1.0" encoding="utf-8"?>
<p:tagLst xmlns:a="http://schemas.openxmlformats.org/drawingml/2006/main" xmlns:r="http://schemas.openxmlformats.org/officeDocument/2006/relationships" xmlns:p="http://schemas.openxmlformats.org/presentationml/2006/main">
  <p:tag name="NAME" val="Flow2"/>
</p:tagLst>
</file>

<file path=ppt/tags/tag33.xml><?xml version="1.0" encoding="utf-8"?>
<p:tagLst xmlns:a="http://schemas.openxmlformats.org/drawingml/2006/main" xmlns:r="http://schemas.openxmlformats.org/officeDocument/2006/relationships" xmlns:p="http://schemas.openxmlformats.org/presentationml/2006/main">
  <p:tag name="NAME" val="Flow2"/>
</p:tagLst>
</file>

<file path=ppt/tags/tag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NAME" val="SingleBoat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xml><?xml version="1.0" encoding="utf-8"?>
<p:tagLst xmlns:a="http://schemas.openxmlformats.org/drawingml/2006/main" xmlns:r="http://schemas.openxmlformats.org/officeDocument/2006/relationships" xmlns:p="http://schemas.openxmlformats.org/presentationml/2006/main">
  <p:tag name="NAME" val="SingleBoatText"/>
</p:tagLst>
</file>

<file path=ppt/tags/tag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xml><?xml version="1.0" encoding="utf-8"?>
<p:tagLst xmlns:a="http://schemas.openxmlformats.org/drawingml/2006/main" xmlns:r="http://schemas.openxmlformats.org/officeDocument/2006/relationships" xmlns:p="http://schemas.openxmlformats.org/presentationml/2006/main">
  <p:tag name="NAME" val="SingleBoatText"/>
</p:tagLst>
</file>

<file path=ppt/tags/tag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xml><?xml version="1.0" encoding="utf-8"?>
<p:tagLst xmlns:a="http://schemas.openxmlformats.org/drawingml/2006/main" xmlns:r="http://schemas.openxmlformats.org/officeDocument/2006/relationships" xmlns:p="http://schemas.openxmlformats.org/presentationml/2006/main">
  <p:tag name="NAME" val="SingleBoatTex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NAME" val="Flow2"/>
</p:tagLst>
</file>

<file path=ppt/tags/tag48.xml><?xml version="1.0" encoding="utf-8"?>
<p:tagLst xmlns:a="http://schemas.openxmlformats.org/drawingml/2006/main" xmlns:r="http://schemas.openxmlformats.org/officeDocument/2006/relationships" xmlns:p="http://schemas.openxmlformats.org/presentationml/2006/main">
  <p:tag name="NAME" val="Flow2"/>
</p:tagLst>
</file>

<file path=ppt/tags/tag49.xml><?xml version="1.0" encoding="utf-8"?>
<p:tagLst xmlns:a="http://schemas.openxmlformats.org/drawingml/2006/main" xmlns:r="http://schemas.openxmlformats.org/officeDocument/2006/relationships" xmlns:p="http://schemas.openxmlformats.org/presentationml/2006/main">
  <p:tag name="NAME" val="Flow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Flow2"/>
</p:tagLst>
</file>

<file path=ppt/tags/tag5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1.xml><?xml version="1.0" encoding="utf-8"?>
<p:tagLst xmlns:a="http://schemas.openxmlformats.org/drawingml/2006/main" xmlns:r="http://schemas.openxmlformats.org/officeDocument/2006/relationships" xmlns:p="http://schemas.openxmlformats.org/presentationml/2006/main">
  <p:tag name="NAME" val="SingleBoatText"/>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Flow2"/>
</p:tagLst>
</file>

<file path=ppt/theme/theme1.xml><?xml version="1.0" encoding="utf-8"?>
<a:theme xmlns:a="http://schemas.openxmlformats.org/drawingml/2006/main" name="Office Theme">
  <a:themeElements>
    <a:clrScheme name="Lumen1">
      <a:dk1>
        <a:srgbClr val="000000"/>
      </a:dk1>
      <a:lt1>
        <a:srgbClr val="FFFFFF"/>
      </a:lt1>
      <a:dk2>
        <a:srgbClr val="0075C9"/>
      </a:dk2>
      <a:lt2>
        <a:srgbClr val="EEEEEE"/>
      </a:lt2>
      <a:accent1>
        <a:srgbClr val="38C6F3"/>
      </a:accent1>
      <a:accent2>
        <a:srgbClr val="0075C9"/>
      </a:accent2>
      <a:accent3>
        <a:srgbClr val="0C9ED9"/>
      </a:accent3>
      <a:accent4>
        <a:srgbClr val="FF9E18"/>
      </a:accent4>
      <a:accent5>
        <a:srgbClr val="083076"/>
      </a:accent5>
      <a:accent6>
        <a:srgbClr val="EE762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A85E85793E16045B83AC39540D05D14" ma:contentTypeVersion="6" ma:contentTypeDescription="Create a new document." ma:contentTypeScope="" ma:versionID="25041547959b80966e337d3193d089c4">
  <xsd:schema xmlns:xsd="http://www.w3.org/2001/XMLSchema" xmlns:xs="http://www.w3.org/2001/XMLSchema" xmlns:p="http://schemas.microsoft.com/office/2006/metadata/properties" xmlns:ns2="5d8e03ff-1260-4a2f-86cb-8457cc5a806b" xmlns:ns3="e7aa1b74-73b2-41e4-91bb-2e0033bb1079" targetNamespace="http://schemas.microsoft.com/office/2006/metadata/properties" ma:root="true" ma:fieldsID="f558b8688f01d94ab52d19671237b2d8" ns2:_="" ns3:_="">
    <xsd:import namespace="5d8e03ff-1260-4a2f-86cb-8457cc5a806b"/>
    <xsd:import namespace="e7aa1b74-73b2-41e4-91bb-2e0033bb10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8e03ff-1260-4a2f-86cb-8457cc5a80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7aa1b74-73b2-41e4-91bb-2e0033bb10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525485-DFD9-46D6-84BB-48048C0CFEE1}">
  <ds:schemaRefs>
    <ds:schemaRef ds:uri="http://schemas.microsoft.com/sharepoint/v3/contenttype/forms"/>
  </ds:schemaRefs>
</ds:datastoreItem>
</file>

<file path=customXml/itemProps2.xml><?xml version="1.0" encoding="utf-8"?>
<ds:datastoreItem xmlns:ds="http://schemas.openxmlformats.org/officeDocument/2006/customXml" ds:itemID="{C1E71173-F90F-45AF-9BC0-F9A2E31543F6}">
  <ds:schemaRefs>
    <ds:schemaRef ds:uri="f9623c71-265c-402d-80a2-0b143d18d92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55C3473-1AF1-4551-9ED7-18E2FFB141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8e03ff-1260-4a2f-86cb-8457cc5a806b"/>
    <ds:schemaRef ds:uri="e7aa1b74-73b2-41e4-91bb-2e0033bb10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446</TotalTime>
  <Words>2246</Words>
  <Application>Microsoft Office PowerPoint</Application>
  <PresentationFormat>Presentación en pantalla (16:9)</PresentationFormat>
  <Paragraphs>410</Paragraphs>
  <Slides>14</Slides>
  <Notes>10</Notes>
  <HiddenSlides>3</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14</vt:i4>
      </vt:variant>
    </vt:vector>
  </HeadingPairs>
  <TitlesOfParts>
    <vt:vector size="27" baseType="lpstr">
      <vt:lpstr>Arial</vt:lpstr>
      <vt:lpstr>Arial Black</vt:lpstr>
      <vt:lpstr>Calibri</vt:lpstr>
      <vt:lpstr>Courier New</vt:lpstr>
      <vt:lpstr>Monaco</vt:lpstr>
      <vt:lpstr>Roboto</vt:lpstr>
      <vt:lpstr>Roboto Light</vt:lpstr>
      <vt:lpstr>Roboto Thin</vt:lpstr>
      <vt:lpstr>Segoe ui</vt:lpstr>
      <vt:lpstr>STIXGeneral-Regular</vt:lpstr>
      <vt:lpstr>Wingdings</vt:lpstr>
      <vt:lpstr>Office Theme</vt:lpstr>
      <vt:lpstr>think-cell Slide</vt:lpstr>
      <vt:lpstr>Resolve Billing Request - CFS Finance Operating Playbook</vt:lpstr>
      <vt:lpstr>Operating Playbook Guidance</vt:lpstr>
      <vt:lpstr>Sample Playbook Outline - Operations</vt:lpstr>
      <vt:lpstr>Process Change Template</vt:lpstr>
      <vt:lpstr>Process included</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dc:title>
  <dc:creator>Hendrickson, Brady</dc:creator>
  <cp:lastModifiedBy>Toledo, Elena</cp:lastModifiedBy>
  <cp:revision>7</cp:revision>
  <cp:lastPrinted>2021-09-28T16:03:47Z</cp:lastPrinted>
  <dcterms:created xsi:type="dcterms:W3CDTF">2020-04-29T18:01:14Z</dcterms:created>
  <dcterms:modified xsi:type="dcterms:W3CDTF">2021-10-20T14:2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85E85793E16045B83AC39540D05D14</vt:lpwstr>
  </property>
</Properties>
</file>